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handoutMasterIdLst>
    <p:handoutMasterId r:id="rId17"/>
  </p:handoutMasterIdLst>
  <p:sldIdLst>
    <p:sldId id="262" r:id="rId2"/>
    <p:sldId id="410" r:id="rId3"/>
    <p:sldId id="575" r:id="rId4"/>
    <p:sldId id="567" r:id="rId5"/>
    <p:sldId id="564" r:id="rId6"/>
    <p:sldId id="565" r:id="rId7"/>
    <p:sldId id="569" r:id="rId8"/>
    <p:sldId id="556" r:id="rId9"/>
    <p:sldId id="571" r:id="rId10"/>
    <p:sldId id="572" r:id="rId11"/>
    <p:sldId id="548" r:id="rId12"/>
    <p:sldId id="576" r:id="rId13"/>
    <p:sldId id="574" r:id="rId14"/>
    <p:sldId id="539" r:id="rId15"/>
  </p:sldIdLst>
  <p:sldSz cx="9215438" cy="5184775"/>
  <p:notesSz cx="6808788" cy="9940925"/>
  <p:defaultTextStyle>
    <a:defPPr>
      <a:defRPr lang="de-DE"/>
    </a:defPPr>
    <a:lvl1pPr marL="0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1pPr>
    <a:lvl2pPr marL="345597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2pPr>
    <a:lvl3pPr marL="691195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3pPr>
    <a:lvl4pPr marL="1036792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4pPr>
    <a:lvl5pPr marL="1382390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5pPr>
    <a:lvl6pPr marL="1727987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6pPr>
    <a:lvl7pPr marL="2073585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7pPr>
    <a:lvl8pPr marL="2419182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8pPr>
    <a:lvl9pPr marL="2764780" algn="l" defTabSz="691195" rtl="0" eaLnBrk="1" latinLnBrk="0" hangingPunct="1">
      <a:defRPr sz="136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33" userDrawn="1">
          <p15:clr>
            <a:srgbClr val="A4A3A4"/>
          </p15:clr>
        </p15:guide>
        <p15:guide id="2" pos="29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D83D045-A98D-6E20-F2E5-EA07B849029D}" name="Rehberg, Jörg" initials="RJ" userId="S::joerg.rehberg@bdew.de::6aed7d92-f4a5-4e48-99a6-ce739b84763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D9EA"/>
    <a:srgbClr val="EEF0F1"/>
    <a:srgbClr val="5768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222" autoAdjust="0"/>
    <p:restoredTop sz="92580" autoAdjust="0"/>
  </p:normalViewPr>
  <p:slideViewPr>
    <p:cSldViewPr showGuides="1">
      <p:cViewPr varScale="1">
        <p:scale>
          <a:sx n="206" d="100"/>
          <a:sy n="206" d="100"/>
        </p:scale>
        <p:origin x="160" y="160"/>
      </p:cViewPr>
      <p:guideLst>
        <p:guide orient="horz" pos="1633"/>
        <p:guide pos="290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8" d="100"/>
          <a:sy n="88" d="100"/>
        </p:scale>
        <p:origin x="353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Kopfzeilenplatzhalter 1">
            <a:extLst>
              <a:ext uri="{FF2B5EF4-FFF2-40B4-BE49-F238E27FC236}">
                <a16:creationId xmlns:a16="http://schemas.microsoft.com/office/drawing/2014/main" id="{C669A850-303A-4D5E-A75B-41A146202F9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Kopfzeilenplatzhalter 1">
            <a:extLst>
              <a:ext uri="{FF2B5EF4-FFF2-40B4-BE49-F238E27FC236}">
                <a16:creationId xmlns:a16="http://schemas.microsoft.com/office/drawing/2014/main" id="{034DF95D-9B5D-4DA3-B231-A23FFA96ECEB}"/>
              </a:ext>
            </a:extLst>
          </p:cNvPr>
          <p:cNvSpPr txBox="1">
            <a:spLocks/>
          </p:cNvSpPr>
          <p:nvPr/>
        </p:nvSpPr>
        <p:spPr>
          <a:xfrm>
            <a:off x="479034" y="273467"/>
            <a:ext cx="4539192" cy="234825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defPPr>
              <a:defRPr lang="de-DE"/>
            </a:defPPr>
            <a:lvl1pPr marL="0" algn="l" defTabSz="691195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597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1195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6792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2390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27987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3585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9182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64780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Autor | Präsentationstitel</a:t>
            </a:r>
          </a:p>
        </p:txBody>
      </p:sp>
      <p:sp>
        <p:nvSpPr>
          <p:cNvPr id="8" name="Datumsplatzhalter 2">
            <a:extLst>
              <a:ext uri="{FF2B5EF4-FFF2-40B4-BE49-F238E27FC236}">
                <a16:creationId xmlns:a16="http://schemas.microsoft.com/office/drawing/2014/main" id="{FB4D3BD3-5197-4343-B8EF-834122D8669F}"/>
              </a:ext>
            </a:extLst>
          </p:cNvPr>
          <p:cNvSpPr txBox="1">
            <a:spLocks/>
          </p:cNvSpPr>
          <p:nvPr/>
        </p:nvSpPr>
        <p:spPr>
          <a:xfrm>
            <a:off x="4900008" y="9667484"/>
            <a:ext cx="714833" cy="2348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de-DE"/>
            </a:defPPr>
            <a:lvl1pPr marL="0" algn="r" defTabSz="691195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597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1195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6792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2390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27987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3585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9182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64780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B89946-613B-46FF-A767-A7BE93F8B496}" type="datetime1">
              <a:rPr lang="de-DE" smtClean="0"/>
              <a:pPr/>
              <a:t>24.11.2022</a:t>
            </a:fld>
            <a:endParaRPr lang="de-DE"/>
          </a:p>
        </p:txBody>
      </p:sp>
      <p:sp>
        <p:nvSpPr>
          <p:cNvPr id="9" name="Fußzeilenplatzhalter 5">
            <a:extLst>
              <a:ext uri="{FF2B5EF4-FFF2-40B4-BE49-F238E27FC236}">
                <a16:creationId xmlns:a16="http://schemas.microsoft.com/office/drawing/2014/main" id="{E38FB1E4-1C45-4D85-84C6-12584A91442F}"/>
              </a:ext>
            </a:extLst>
          </p:cNvPr>
          <p:cNvSpPr txBox="1">
            <a:spLocks/>
          </p:cNvSpPr>
          <p:nvPr/>
        </p:nvSpPr>
        <p:spPr>
          <a:xfrm>
            <a:off x="479034" y="9667510"/>
            <a:ext cx="2950475" cy="2348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de-DE"/>
            </a:defPPr>
            <a:lvl1pPr marL="0" algn="l" defTabSz="691195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597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1195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6792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2390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27987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3585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9182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64780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© BDEW e.V. | Bundesverband der Energie- und Wasserwirtschaft </a:t>
            </a:r>
            <a:endParaRPr lang="de-DE" dirty="0"/>
          </a:p>
        </p:txBody>
      </p:sp>
      <p:sp>
        <p:nvSpPr>
          <p:cNvPr id="10" name="Foliennummernplatzhalter 6">
            <a:extLst>
              <a:ext uri="{FF2B5EF4-FFF2-40B4-BE49-F238E27FC236}">
                <a16:creationId xmlns:a16="http://schemas.microsoft.com/office/drawing/2014/main" id="{04FCF157-B09E-4A68-948A-E39E29EC2CF5}"/>
              </a:ext>
            </a:extLst>
          </p:cNvPr>
          <p:cNvSpPr txBox="1">
            <a:spLocks/>
          </p:cNvSpPr>
          <p:nvPr/>
        </p:nvSpPr>
        <p:spPr>
          <a:xfrm>
            <a:off x="5617812" y="9667510"/>
            <a:ext cx="714833" cy="2348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de-DE"/>
            </a:defPPr>
            <a:lvl1pPr marL="0" algn="r" defTabSz="691195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597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1195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6792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2390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27987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3585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9182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64780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Folie </a:t>
            </a:r>
            <a:fld id="{6D4C9060-DEFA-4A83-8BDF-49E32732D5D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1C11179-C608-4DDB-9B15-1DC4236B6C73}"/>
              </a:ext>
            </a:extLst>
          </p:cNvPr>
          <p:cNvCxnSpPr/>
          <p:nvPr/>
        </p:nvCxnSpPr>
        <p:spPr>
          <a:xfrm>
            <a:off x="0" y="592704"/>
            <a:ext cx="6812362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0DFC716-17C7-46AD-8BE5-F3BC23B014B4}"/>
              </a:ext>
            </a:extLst>
          </p:cNvPr>
          <p:cNvGrpSpPr>
            <a:grpSpLocks noChangeAspect="1"/>
          </p:cNvGrpSpPr>
          <p:nvPr/>
        </p:nvGrpSpPr>
        <p:grpSpPr>
          <a:xfrm>
            <a:off x="5236932" y="0"/>
            <a:ext cx="1096185" cy="803764"/>
            <a:chOff x="5277612" y="-1340"/>
            <a:chExt cx="1104108" cy="739329"/>
          </a:xfrm>
        </p:grpSpPr>
        <p:sp>
          <p:nvSpPr>
            <p:cNvPr id="13" name="Rectangle 23">
              <a:extLst>
                <a:ext uri="{FF2B5EF4-FFF2-40B4-BE49-F238E27FC236}">
                  <a16:creationId xmlns:a16="http://schemas.microsoft.com/office/drawing/2014/main" id="{EC862D43-A303-4985-B2EE-5DC6B02DE6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7612" y="-1340"/>
              <a:ext cx="1104108" cy="739329"/>
            </a:xfrm>
            <a:prstGeom prst="rect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24">
              <a:extLst>
                <a:ext uri="{FF2B5EF4-FFF2-40B4-BE49-F238E27FC236}">
                  <a16:creationId xmlns:a16="http://schemas.microsoft.com/office/drawing/2014/main" id="{074B9AB2-05B5-4BA4-A985-C0650B97A7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3735" y="246595"/>
              <a:ext cx="216995" cy="186868"/>
            </a:xfrm>
            <a:custGeom>
              <a:avLst/>
              <a:gdLst>
                <a:gd name="T0" fmla="*/ 0 w 333"/>
                <a:gd name="T1" fmla="*/ 0 h 287"/>
                <a:gd name="T2" fmla="*/ 0 w 333"/>
                <a:gd name="T3" fmla="*/ 162 h 287"/>
                <a:gd name="T4" fmla="*/ 167 w 333"/>
                <a:gd name="T5" fmla="*/ 224 h 287"/>
                <a:gd name="T6" fmla="*/ 235 w 333"/>
                <a:gd name="T7" fmla="*/ 255 h 287"/>
                <a:gd name="T8" fmla="*/ 333 w 333"/>
                <a:gd name="T9" fmla="*/ 162 h 287"/>
                <a:gd name="T10" fmla="*/ 333 w 333"/>
                <a:gd name="T11" fmla="*/ 0 h 287"/>
                <a:gd name="T12" fmla="*/ 274 w 333"/>
                <a:gd name="T13" fmla="*/ 0 h 287"/>
                <a:gd name="T14" fmla="*/ 274 w 333"/>
                <a:gd name="T15" fmla="*/ 163 h 287"/>
                <a:gd name="T16" fmla="*/ 196 w 333"/>
                <a:gd name="T17" fmla="*/ 163 h 287"/>
                <a:gd name="T18" fmla="*/ 196 w 333"/>
                <a:gd name="T19" fmla="*/ 0 h 287"/>
                <a:gd name="T20" fmla="*/ 137 w 333"/>
                <a:gd name="T21" fmla="*/ 0 h 287"/>
                <a:gd name="T22" fmla="*/ 137 w 333"/>
                <a:gd name="T23" fmla="*/ 163 h 287"/>
                <a:gd name="T24" fmla="*/ 98 w 333"/>
                <a:gd name="T25" fmla="*/ 201 h 287"/>
                <a:gd name="T26" fmla="*/ 59 w 333"/>
                <a:gd name="T27" fmla="*/ 163 h 287"/>
                <a:gd name="T28" fmla="*/ 59 w 333"/>
                <a:gd name="T29" fmla="*/ 0 h 287"/>
                <a:gd name="T30" fmla="*/ 0 w 333"/>
                <a:gd name="T31" fmla="*/ 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3" h="287">
                  <a:moveTo>
                    <a:pt x="0" y="0"/>
                  </a:moveTo>
                  <a:lnTo>
                    <a:pt x="0" y="162"/>
                  </a:lnTo>
                  <a:cubicBezTo>
                    <a:pt x="3" y="248"/>
                    <a:pt x="108" y="287"/>
                    <a:pt x="167" y="224"/>
                  </a:cubicBezTo>
                  <a:cubicBezTo>
                    <a:pt x="184" y="244"/>
                    <a:pt x="209" y="255"/>
                    <a:pt x="235" y="255"/>
                  </a:cubicBezTo>
                  <a:cubicBezTo>
                    <a:pt x="287" y="256"/>
                    <a:pt x="331" y="215"/>
                    <a:pt x="333" y="162"/>
                  </a:cubicBezTo>
                  <a:lnTo>
                    <a:pt x="333" y="0"/>
                  </a:lnTo>
                  <a:lnTo>
                    <a:pt x="274" y="0"/>
                  </a:lnTo>
                  <a:lnTo>
                    <a:pt x="274" y="163"/>
                  </a:lnTo>
                  <a:cubicBezTo>
                    <a:pt x="272" y="213"/>
                    <a:pt x="198" y="213"/>
                    <a:pt x="196" y="163"/>
                  </a:cubicBezTo>
                  <a:lnTo>
                    <a:pt x="196" y="0"/>
                  </a:lnTo>
                  <a:lnTo>
                    <a:pt x="137" y="0"/>
                  </a:lnTo>
                  <a:lnTo>
                    <a:pt x="137" y="163"/>
                  </a:lnTo>
                  <a:cubicBezTo>
                    <a:pt x="137" y="184"/>
                    <a:pt x="119" y="201"/>
                    <a:pt x="98" y="201"/>
                  </a:cubicBezTo>
                  <a:cubicBezTo>
                    <a:pt x="77" y="201"/>
                    <a:pt x="60" y="184"/>
                    <a:pt x="59" y="163"/>
                  </a:cubicBezTo>
                  <a:lnTo>
                    <a:pt x="5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25">
              <a:extLst>
                <a:ext uri="{FF2B5EF4-FFF2-40B4-BE49-F238E27FC236}">
                  <a16:creationId xmlns:a16="http://schemas.microsoft.com/office/drawing/2014/main" id="{A8E0F257-A91C-4F41-9444-0656821A9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4425" y="236011"/>
              <a:ext cx="176283" cy="183204"/>
            </a:xfrm>
            <a:custGeom>
              <a:avLst/>
              <a:gdLst>
                <a:gd name="T0" fmla="*/ 269 w 271"/>
                <a:gd name="T1" fmla="*/ 157 h 281"/>
                <a:gd name="T2" fmla="*/ 271 w 271"/>
                <a:gd name="T3" fmla="*/ 137 h 281"/>
                <a:gd name="T4" fmla="*/ 153 w 271"/>
                <a:gd name="T5" fmla="*/ 7 h 281"/>
                <a:gd name="T6" fmla="*/ 12 w 271"/>
                <a:gd name="T7" fmla="*/ 113 h 281"/>
                <a:gd name="T8" fmla="*/ 104 w 271"/>
                <a:gd name="T9" fmla="*/ 263 h 281"/>
                <a:gd name="T10" fmla="*/ 262 w 271"/>
                <a:gd name="T11" fmla="*/ 184 h 281"/>
                <a:gd name="T12" fmla="*/ 201 w 271"/>
                <a:gd name="T13" fmla="*/ 184 h 281"/>
                <a:gd name="T14" fmla="*/ 64 w 271"/>
                <a:gd name="T15" fmla="*/ 130 h 281"/>
                <a:gd name="T16" fmla="*/ 209 w 271"/>
                <a:gd name="T17" fmla="*/ 103 h 281"/>
                <a:gd name="T18" fmla="*/ 116 w 271"/>
                <a:gd name="T19" fmla="*/ 103 h 281"/>
                <a:gd name="T20" fmla="*/ 116 w 271"/>
                <a:gd name="T21" fmla="*/ 157 h 281"/>
                <a:gd name="T22" fmla="*/ 269 w 271"/>
                <a:gd name="T23" fmla="*/ 157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281">
                  <a:moveTo>
                    <a:pt x="269" y="157"/>
                  </a:moveTo>
                  <a:cubicBezTo>
                    <a:pt x="271" y="150"/>
                    <a:pt x="271" y="144"/>
                    <a:pt x="271" y="137"/>
                  </a:cubicBezTo>
                  <a:cubicBezTo>
                    <a:pt x="271" y="70"/>
                    <a:pt x="220" y="13"/>
                    <a:pt x="153" y="7"/>
                  </a:cubicBezTo>
                  <a:cubicBezTo>
                    <a:pt x="86" y="0"/>
                    <a:pt x="25" y="46"/>
                    <a:pt x="12" y="113"/>
                  </a:cubicBezTo>
                  <a:cubicBezTo>
                    <a:pt x="0" y="179"/>
                    <a:pt x="39" y="244"/>
                    <a:pt x="104" y="263"/>
                  </a:cubicBezTo>
                  <a:cubicBezTo>
                    <a:pt x="169" y="281"/>
                    <a:pt x="238" y="247"/>
                    <a:pt x="262" y="184"/>
                  </a:cubicBezTo>
                  <a:lnTo>
                    <a:pt x="201" y="184"/>
                  </a:lnTo>
                  <a:cubicBezTo>
                    <a:pt x="154" y="245"/>
                    <a:pt x="57" y="206"/>
                    <a:pt x="64" y="130"/>
                  </a:cubicBezTo>
                  <a:cubicBezTo>
                    <a:pt x="72" y="53"/>
                    <a:pt x="175" y="34"/>
                    <a:pt x="209" y="103"/>
                  </a:cubicBezTo>
                  <a:lnTo>
                    <a:pt x="116" y="103"/>
                  </a:lnTo>
                  <a:lnTo>
                    <a:pt x="116" y="157"/>
                  </a:lnTo>
                  <a:lnTo>
                    <a:pt x="269" y="157"/>
                  </a:lnTo>
                  <a:close/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26">
              <a:extLst>
                <a:ext uri="{FF2B5EF4-FFF2-40B4-BE49-F238E27FC236}">
                  <a16:creationId xmlns:a16="http://schemas.microsoft.com/office/drawing/2014/main" id="{DF539D31-E944-4CAA-9887-A331D3BFCD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8142" y="170057"/>
              <a:ext cx="170176" cy="242643"/>
            </a:xfrm>
            <a:custGeom>
              <a:avLst/>
              <a:gdLst>
                <a:gd name="T0" fmla="*/ 148 w 261"/>
                <a:gd name="T1" fmla="*/ 316 h 372"/>
                <a:gd name="T2" fmla="*/ 130 w 261"/>
                <a:gd name="T3" fmla="*/ 318 h 372"/>
                <a:gd name="T4" fmla="*/ 101 w 261"/>
                <a:gd name="T5" fmla="*/ 312 h 372"/>
                <a:gd name="T6" fmla="*/ 136 w 261"/>
                <a:gd name="T7" fmla="*/ 164 h 372"/>
                <a:gd name="T8" fmla="*/ 148 w 261"/>
                <a:gd name="T9" fmla="*/ 316 h 372"/>
                <a:gd name="T10" fmla="*/ 205 w 261"/>
                <a:gd name="T11" fmla="*/ 0 h 372"/>
                <a:gd name="T12" fmla="*/ 205 w 261"/>
                <a:gd name="T13" fmla="*/ 138 h 372"/>
                <a:gd name="T14" fmla="*/ 130 w 261"/>
                <a:gd name="T15" fmla="*/ 113 h 372"/>
                <a:gd name="T16" fmla="*/ 0 w 261"/>
                <a:gd name="T17" fmla="*/ 242 h 372"/>
                <a:gd name="T18" fmla="*/ 130 w 261"/>
                <a:gd name="T19" fmla="*/ 372 h 372"/>
                <a:gd name="T20" fmla="*/ 205 w 261"/>
                <a:gd name="T21" fmla="*/ 347 h 372"/>
                <a:gd name="T22" fmla="*/ 205 w 261"/>
                <a:gd name="T23" fmla="*/ 369 h 372"/>
                <a:gd name="T24" fmla="*/ 261 w 261"/>
                <a:gd name="T25" fmla="*/ 369 h 372"/>
                <a:gd name="T26" fmla="*/ 261 w 261"/>
                <a:gd name="T27" fmla="*/ 0 h 372"/>
                <a:gd name="T28" fmla="*/ 205 w 261"/>
                <a:gd name="T29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1" h="372">
                  <a:moveTo>
                    <a:pt x="148" y="316"/>
                  </a:moveTo>
                  <a:cubicBezTo>
                    <a:pt x="142" y="318"/>
                    <a:pt x="136" y="318"/>
                    <a:pt x="130" y="318"/>
                  </a:cubicBezTo>
                  <a:cubicBezTo>
                    <a:pt x="120" y="318"/>
                    <a:pt x="110" y="316"/>
                    <a:pt x="101" y="312"/>
                  </a:cubicBezTo>
                  <a:cubicBezTo>
                    <a:pt x="20" y="279"/>
                    <a:pt x="49" y="157"/>
                    <a:pt x="136" y="164"/>
                  </a:cubicBezTo>
                  <a:cubicBezTo>
                    <a:pt x="224" y="171"/>
                    <a:pt x="234" y="296"/>
                    <a:pt x="148" y="316"/>
                  </a:cubicBezTo>
                  <a:moveTo>
                    <a:pt x="205" y="0"/>
                  </a:moveTo>
                  <a:lnTo>
                    <a:pt x="205" y="138"/>
                  </a:lnTo>
                  <a:cubicBezTo>
                    <a:pt x="184" y="122"/>
                    <a:pt x="157" y="113"/>
                    <a:pt x="130" y="113"/>
                  </a:cubicBezTo>
                  <a:cubicBezTo>
                    <a:pt x="59" y="113"/>
                    <a:pt x="0" y="171"/>
                    <a:pt x="0" y="242"/>
                  </a:cubicBezTo>
                  <a:cubicBezTo>
                    <a:pt x="0" y="314"/>
                    <a:pt x="59" y="372"/>
                    <a:pt x="130" y="372"/>
                  </a:cubicBezTo>
                  <a:cubicBezTo>
                    <a:pt x="157" y="372"/>
                    <a:pt x="184" y="363"/>
                    <a:pt x="205" y="347"/>
                  </a:cubicBezTo>
                  <a:lnTo>
                    <a:pt x="205" y="369"/>
                  </a:lnTo>
                  <a:lnTo>
                    <a:pt x="261" y="369"/>
                  </a:lnTo>
                  <a:lnTo>
                    <a:pt x="261" y="0"/>
                  </a:lnTo>
                  <a:lnTo>
                    <a:pt x="205" y="0"/>
                  </a:lnTo>
                  <a:close/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27">
              <a:extLst>
                <a:ext uri="{FF2B5EF4-FFF2-40B4-BE49-F238E27FC236}">
                  <a16:creationId xmlns:a16="http://schemas.microsoft.com/office/drawing/2014/main" id="{8338AD10-0F85-4992-8D06-ED697D72AC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48195" y="170057"/>
              <a:ext cx="170176" cy="242643"/>
            </a:xfrm>
            <a:custGeom>
              <a:avLst/>
              <a:gdLst>
                <a:gd name="T0" fmla="*/ 160 w 261"/>
                <a:gd name="T1" fmla="*/ 312 h 372"/>
                <a:gd name="T2" fmla="*/ 131 w 261"/>
                <a:gd name="T3" fmla="*/ 319 h 372"/>
                <a:gd name="T4" fmla="*/ 114 w 261"/>
                <a:gd name="T5" fmla="*/ 316 h 372"/>
                <a:gd name="T6" fmla="*/ 125 w 261"/>
                <a:gd name="T7" fmla="*/ 165 h 372"/>
                <a:gd name="T8" fmla="*/ 160 w 261"/>
                <a:gd name="T9" fmla="*/ 312 h 372"/>
                <a:gd name="T10" fmla="*/ 131 w 261"/>
                <a:gd name="T11" fmla="*/ 113 h 372"/>
                <a:gd name="T12" fmla="*/ 56 w 261"/>
                <a:gd name="T13" fmla="*/ 138 h 372"/>
                <a:gd name="T14" fmla="*/ 56 w 261"/>
                <a:gd name="T15" fmla="*/ 0 h 372"/>
                <a:gd name="T16" fmla="*/ 0 w 261"/>
                <a:gd name="T17" fmla="*/ 0 h 372"/>
                <a:gd name="T18" fmla="*/ 0 w 261"/>
                <a:gd name="T19" fmla="*/ 369 h 372"/>
                <a:gd name="T20" fmla="*/ 56 w 261"/>
                <a:gd name="T21" fmla="*/ 369 h 372"/>
                <a:gd name="T22" fmla="*/ 56 w 261"/>
                <a:gd name="T23" fmla="*/ 347 h 372"/>
                <a:gd name="T24" fmla="*/ 131 w 261"/>
                <a:gd name="T25" fmla="*/ 372 h 372"/>
                <a:gd name="T26" fmla="*/ 261 w 261"/>
                <a:gd name="T27" fmla="*/ 242 h 372"/>
                <a:gd name="T28" fmla="*/ 131 w 261"/>
                <a:gd name="T29" fmla="*/ 113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1" h="372">
                  <a:moveTo>
                    <a:pt x="160" y="312"/>
                  </a:moveTo>
                  <a:cubicBezTo>
                    <a:pt x="151" y="316"/>
                    <a:pt x="141" y="319"/>
                    <a:pt x="131" y="319"/>
                  </a:cubicBezTo>
                  <a:cubicBezTo>
                    <a:pt x="125" y="318"/>
                    <a:pt x="119" y="318"/>
                    <a:pt x="114" y="316"/>
                  </a:cubicBezTo>
                  <a:cubicBezTo>
                    <a:pt x="28" y="296"/>
                    <a:pt x="38" y="172"/>
                    <a:pt x="125" y="165"/>
                  </a:cubicBezTo>
                  <a:cubicBezTo>
                    <a:pt x="212" y="158"/>
                    <a:pt x="241" y="279"/>
                    <a:pt x="160" y="312"/>
                  </a:cubicBezTo>
                  <a:close/>
                  <a:moveTo>
                    <a:pt x="131" y="113"/>
                  </a:moveTo>
                  <a:cubicBezTo>
                    <a:pt x="104" y="113"/>
                    <a:pt x="78" y="122"/>
                    <a:pt x="56" y="138"/>
                  </a:cubicBezTo>
                  <a:lnTo>
                    <a:pt x="56" y="0"/>
                  </a:lnTo>
                  <a:lnTo>
                    <a:pt x="0" y="0"/>
                  </a:lnTo>
                  <a:lnTo>
                    <a:pt x="0" y="369"/>
                  </a:lnTo>
                  <a:lnTo>
                    <a:pt x="56" y="369"/>
                  </a:lnTo>
                  <a:lnTo>
                    <a:pt x="56" y="347"/>
                  </a:lnTo>
                  <a:cubicBezTo>
                    <a:pt x="78" y="363"/>
                    <a:pt x="104" y="372"/>
                    <a:pt x="131" y="372"/>
                  </a:cubicBezTo>
                  <a:cubicBezTo>
                    <a:pt x="203" y="372"/>
                    <a:pt x="261" y="314"/>
                    <a:pt x="261" y="242"/>
                  </a:cubicBezTo>
                  <a:cubicBezTo>
                    <a:pt x="261" y="171"/>
                    <a:pt x="203" y="113"/>
                    <a:pt x="131" y="113"/>
                  </a:cubicBezTo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28">
              <a:extLst>
                <a:ext uri="{FF2B5EF4-FFF2-40B4-BE49-F238E27FC236}">
                  <a16:creationId xmlns:a16="http://schemas.microsoft.com/office/drawing/2014/main" id="{3B1B6C98-C507-4E8C-86CB-F163012CAF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48195" y="495346"/>
              <a:ext cx="762535" cy="71653"/>
            </a:xfrm>
            <a:custGeom>
              <a:avLst/>
              <a:gdLst>
                <a:gd name="T0" fmla="*/ 43 w 1170"/>
                <a:gd name="T1" fmla="*/ 53 h 110"/>
                <a:gd name="T2" fmla="*/ 48 w 1170"/>
                <a:gd name="T3" fmla="*/ 9 h 110"/>
                <a:gd name="T4" fmla="*/ 111 w 1170"/>
                <a:gd name="T5" fmla="*/ 47 h 110"/>
                <a:gd name="T6" fmla="*/ 61 w 1170"/>
                <a:gd name="T7" fmla="*/ 29 h 110"/>
                <a:gd name="T8" fmla="*/ 89 w 1170"/>
                <a:gd name="T9" fmla="*/ 41 h 110"/>
                <a:gd name="T10" fmla="*/ 149 w 1170"/>
                <a:gd name="T11" fmla="*/ 28 h 110"/>
                <a:gd name="T12" fmla="*/ 150 w 1170"/>
                <a:gd name="T13" fmla="*/ 75 h 110"/>
                <a:gd name="T14" fmla="*/ 140 w 1170"/>
                <a:gd name="T15" fmla="*/ 52 h 110"/>
                <a:gd name="T16" fmla="*/ 203 w 1170"/>
                <a:gd name="T17" fmla="*/ 35 h 110"/>
                <a:gd name="T18" fmla="*/ 187 w 1170"/>
                <a:gd name="T19" fmla="*/ 86 h 110"/>
                <a:gd name="T20" fmla="*/ 220 w 1170"/>
                <a:gd name="T21" fmla="*/ 29 h 110"/>
                <a:gd name="T22" fmla="*/ 229 w 1170"/>
                <a:gd name="T23" fmla="*/ 57 h 110"/>
                <a:gd name="T24" fmla="*/ 264 w 1170"/>
                <a:gd name="T25" fmla="*/ 91 h 110"/>
                <a:gd name="T26" fmla="*/ 279 w 1170"/>
                <a:gd name="T27" fmla="*/ 94 h 110"/>
                <a:gd name="T28" fmla="*/ 253 w 1170"/>
                <a:gd name="T29" fmla="*/ 73 h 110"/>
                <a:gd name="T30" fmla="*/ 312 w 1170"/>
                <a:gd name="T31" fmla="*/ 10 h 110"/>
                <a:gd name="T32" fmla="*/ 310 w 1170"/>
                <a:gd name="T33" fmla="*/ 41 h 110"/>
                <a:gd name="T34" fmla="*/ 372 w 1170"/>
                <a:gd name="T35" fmla="*/ 56 h 110"/>
                <a:gd name="T36" fmla="*/ 371 w 1170"/>
                <a:gd name="T37" fmla="*/ 69 h 110"/>
                <a:gd name="T38" fmla="*/ 357 w 1170"/>
                <a:gd name="T39" fmla="*/ 52 h 110"/>
                <a:gd name="T40" fmla="*/ 384 w 1170"/>
                <a:gd name="T41" fmla="*/ 79 h 110"/>
                <a:gd name="T42" fmla="*/ 500 w 1170"/>
                <a:gd name="T43" fmla="*/ 46 h 110"/>
                <a:gd name="T44" fmla="*/ 460 w 1170"/>
                <a:gd name="T45" fmla="*/ 46 h 110"/>
                <a:gd name="T46" fmla="*/ 448 w 1170"/>
                <a:gd name="T47" fmla="*/ 86 h 110"/>
                <a:gd name="T48" fmla="*/ 488 w 1170"/>
                <a:gd name="T49" fmla="*/ 86 h 110"/>
                <a:gd name="T50" fmla="*/ 577 w 1170"/>
                <a:gd name="T51" fmla="*/ 47 h 110"/>
                <a:gd name="T52" fmla="*/ 556 w 1170"/>
                <a:gd name="T53" fmla="*/ 40 h 110"/>
                <a:gd name="T54" fmla="*/ 548 w 1170"/>
                <a:gd name="T55" fmla="*/ 87 h 110"/>
                <a:gd name="T56" fmla="*/ 552 w 1170"/>
                <a:gd name="T57" fmla="*/ 76 h 110"/>
                <a:gd name="T58" fmla="*/ 632 w 1170"/>
                <a:gd name="T59" fmla="*/ 69 h 110"/>
                <a:gd name="T60" fmla="*/ 629 w 1170"/>
                <a:gd name="T61" fmla="*/ 31 h 110"/>
                <a:gd name="T62" fmla="*/ 611 w 1170"/>
                <a:gd name="T63" fmla="*/ 75 h 110"/>
                <a:gd name="T64" fmla="*/ 684 w 1170"/>
                <a:gd name="T65" fmla="*/ 69 h 110"/>
                <a:gd name="T66" fmla="*/ 680 w 1170"/>
                <a:gd name="T67" fmla="*/ 31 h 110"/>
                <a:gd name="T68" fmla="*/ 663 w 1170"/>
                <a:gd name="T69" fmla="*/ 75 h 110"/>
                <a:gd name="T70" fmla="*/ 743 w 1170"/>
                <a:gd name="T71" fmla="*/ 56 h 110"/>
                <a:gd name="T72" fmla="*/ 741 w 1170"/>
                <a:gd name="T73" fmla="*/ 70 h 110"/>
                <a:gd name="T74" fmla="*/ 727 w 1170"/>
                <a:gd name="T75" fmla="*/ 52 h 110"/>
                <a:gd name="T76" fmla="*/ 783 w 1170"/>
                <a:gd name="T77" fmla="*/ 28 h 110"/>
                <a:gd name="T78" fmla="*/ 756 w 1170"/>
                <a:gd name="T79" fmla="*/ 43 h 110"/>
                <a:gd name="T80" fmla="*/ 789 w 1170"/>
                <a:gd name="T81" fmla="*/ 41 h 110"/>
                <a:gd name="T82" fmla="*/ 805 w 1170"/>
                <a:gd name="T83" fmla="*/ 79 h 110"/>
                <a:gd name="T84" fmla="*/ 843 w 1170"/>
                <a:gd name="T85" fmla="*/ 9 h 110"/>
                <a:gd name="T86" fmla="*/ 900 w 1170"/>
                <a:gd name="T87" fmla="*/ 58 h 110"/>
                <a:gd name="T88" fmla="*/ 916 w 1170"/>
                <a:gd name="T89" fmla="*/ 61 h 110"/>
                <a:gd name="T90" fmla="*/ 924 w 1170"/>
                <a:gd name="T91" fmla="*/ 39 h 110"/>
                <a:gd name="T92" fmla="*/ 978 w 1170"/>
                <a:gd name="T93" fmla="*/ 28 h 110"/>
                <a:gd name="T94" fmla="*/ 977 w 1170"/>
                <a:gd name="T95" fmla="*/ 86 h 110"/>
                <a:gd name="T96" fmla="*/ 990 w 1170"/>
                <a:gd name="T97" fmla="*/ 75 h 110"/>
                <a:gd name="T98" fmla="*/ 1075 w 1170"/>
                <a:gd name="T99" fmla="*/ 56 h 110"/>
                <a:gd name="T100" fmla="*/ 1073 w 1170"/>
                <a:gd name="T101" fmla="*/ 70 h 110"/>
                <a:gd name="T102" fmla="*/ 1060 w 1170"/>
                <a:gd name="T103" fmla="*/ 52 h 110"/>
                <a:gd name="T104" fmla="*/ 1138 w 1170"/>
                <a:gd name="T105" fmla="*/ 47 h 110"/>
                <a:gd name="T106" fmla="*/ 1088 w 1170"/>
                <a:gd name="T107" fmla="*/ 29 h 110"/>
                <a:gd name="T108" fmla="*/ 1116 w 1170"/>
                <a:gd name="T109" fmla="*/ 41 h 110"/>
                <a:gd name="T110" fmla="*/ 1160 w 1170"/>
                <a:gd name="T111" fmla="*/ 7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0" h="110">
                  <a:moveTo>
                    <a:pt x="49" y="86"/>
                  </a:moveTo>
                  <a:lnTo>
                    <a:pt x="49" y="72"/>
                  </a:lnTo>
                  <a:lnTo>
                    <a:pt x="16" y="72"/>
                  </a:lnTo>
                  <a:lnTo>
                    <a:pt x="16" y="53"/>
                  </a:lnTo>
                  <a:lnTo>
                    <a:pt x="43" y="53"/>
                  </a:lnTo>
                  <a:lnTo>
                    <a:pt x="43" y="39"/>
                  </a:lnTo>
                  <a:lnTo>
                    <a:pt x="16" y="39"/>
                  </a:lnTo>
                  <a:lnTo>
                    <a:pt x="16" y="22"/>
                  </a:lnTo>
                  <a:lnTo>
                    <a:pt x="47" y="22"/>
                  </a:lnTo>
                  <a:lnTo>
                    <a:pt x="48" y="9"/>
                  </a:lnTo>
                  <a:lnTo>
                    <a:pt x="0" y="9"/>
                  </a:lnTo>
                  <a:lnTo>
                    <a:pt x="0" y="86"/>
                  </a:lnTo>
                  <a:lnTo>
                    <a:pt x="49" y="86"/>
                  </a:lnTo>
                  <a:close/>
                  <a:moveTo>
                    <a:pt x="111" y="86"/>
                  </a:moveTo>
                  <a:lnTo>
                    <a:pt x="111" y="47"/>
                  </a:lnTo>
                  <a:cubicBezTo>
                    <a:pt x="111" y="42"/>
                    <a:pt x="110" y="38"/>
                    <a:pt x="108" y="34"/>
                  </a:cubicBezTo>
                  <a:cubicBezTo>
                    <a:pt x="105" y="30"/>
                    <a:pt x="100" y="27"/>
                    <a:pt x="94" y="28"/>
                  </a:cubicBezTo>
                  <a:cubicBezTo>
                    <a:pt x="88" y="29"/>
                    <a:pt x="81" y="32"/>
                    <a:pt x="76" y="37"/>
                  </a:cubicBezTo>
                  <a:cubicBezTo>
                    <a:pt x="76" y="34"/>
                    <a:pt x="76" y="32"/>
                    <a:pt x="75" y="29"/>
                  </a:cubicBezTo>
                  <a:lnTo>
                    <a:pt x="61" y="29"/>
                  </a:lnTo>
                  <a:cubicBezTo>
                    <a:pt x="61" y="29"/>
                    <a:pt x="62" y="36"/>
                    <a:pt x="62" y="43"/>
                  </a:cubicBezTo>
                  <a:lnTo>
                    <a:pt x="62" y="86"/>
                  </a:lnTo>
                  <a:lnTo>
                    <a:pt x="77" y="86"/>
                  </a:lnTo>
                  <a:lnTo>
                    <a:pt x="77" y="47"/>
                  </a:lnTo>
                  <a:cubicBezTo>
                    <a:pt x="80" y="44"/>
                    <a:pt x="84" y="42"/>
                    <a:pt x="89" y="41"/>
                  </a:cubicBezTo>
                  <a:cubicBezTo>
                    <a:pt x="93" y="41"/>
                    <a:pt x="96" y="42"/>
                    <a:pt x="96" y="48"/>
                  </a:cubicBezTo>
                  <a:lnTo>
                    <a:pt x="96" y="86"/>
                  </a:lnTo>
                  <a:lnTo>
                    <a:pt x="111" y="86"/>
                  </a:lnTo>
                  <a:close/>
                  <a:moveTo>
                    <a:pt x="173" y="56"/>
                  </a:moveTo>
                  <a:cubicBezTo>
                    <a:pt x="173" y="43"/>
                    <a:pt x="168" y="28"/>
                    <a:pt x="149" y="28"/>
                  </a:cubicBezTo>
                  <a:cubicBezTo>
                    <a:pt x="132" y="28"/>
                    <a:pt x="124" y="42"/>
                    <a:pt x="124" y="58"/>
                  </a:cubicBezTo>
                  <a:cubicBezTo>
                    <a:pt x="124" y="68"/>
                    <a:pt x="127" y="87"/>
                    <a:pt x="148" y="87"/>
                  </a:cubicBezTo>
                  <a:cubicBezTo>
                    <a:pt x="156" y="87"/>
                    <a:pt x="165" y="85"/>
                    <a:pt x="172" y="81"/>
                  </a:cubicBezTo>
                  <a:lnTo>
                    <a:pt x="172" y="70"/>
                  </a:lnTo>
                  <a:cubicBezTo>
                    <a:pt x="165" y="73"/>
                    <a:pt x="158" y="75"/>
                    <a:pt x="150" y="75"/>
                  </a:cubicBezTo>
                  <a:cubicBezTo>
                    <a:pt x="144" y="75"/>
                    <a:pt x="140" y="71"/>
                    <a:pt x="140" y="61"/>
                  </a:cubicBezTo>
                  <a:lnTo>
                    <a:pt x="173" y="61"/>
                  </a:lnTo>
                  <a:cubicBezTo>
                    <a:pt x="173" y="61"/>
                    <a:pt x="173" y="57"/>
                    <a:pt x="173" y="56"/>
                  </a:cubicBezTo>
                  <a:moveTo>
                    <a:pt x="158" y="52"/>
                  </a:moveTo>
                  <a:lnTo>
                    <a:pt x="140" y="52"/>
                  </a:lnTo>
                  <a:cubicBezTo>
                    <a:pt x="140" y="47"/>
                    <a:pt x="142" y="39"/>
                    <a:pt x="149" y="39"/>
                  </a:cubicBezTo>
                  <a:cubicBezTo>
                    <a:pt x="157" y="39"/>
                    <a:pt x="158" y="47"/>
                    <a:pt x="158" y="52"/>
                  </a:cubicBezTo>
                  <a:moveTo>
                    <a:pt x="220" y="29"/>
                  </a:moveTo>
                  <a:cubicBezTo>
                    <a:pt x="220" y="29"/>
                    <a:pt x="220" y="28"/>
                    <a:pt x="214" y="28"/>
                  </a:cubicBezTo>
                  <a:cubicBezTo>
                    <a:pt x="209" y="29"/>
                    <a:pt x="205" y="31"/>
                    <a:pt x="203" y="35"/>
                  </a:cubicBezTo>
                  <a:cubicBezTo>
                    <a:pt x="202" y="35"/>
                    <a:pt x="202" y="35"/>
                    <a:pt x="202" y="36"/>
                  </a:cubicBezTo>
                  <a:cubicBezTo>
                    <a:pt x="202" y="33"/>
                    <a:pt x="201" y="31"/>
                    <a:pt x="201" y="29"/>
                  </a:cubicBezTo>
                  <a:lnTo>
                    <a:pt x="186" y="29"/>
                  </a:lnTo>
                  <a:cubicBezTo>
                    <a:pt x="187" y="34"/>
                    <a:pt x="187" y="38"/>
                    <a:pt x="187" y="43"/>
                  </a:cubicBezTo>
                  <a:lnTo>
                    <a:pt x="187" y="86"/>
                  </a:lnTo>
                  <a:lnTo>
                    <a:pt x="202" y="86"/>
                  </a:lnTo>
                  <a:lnTo>
                    <a:pt x="202" y="46"/>
                  </a:lnTo>
                  <a:cubicBezTo>
                    <a:pt x="205" y="43"/>
                    <a:pt x="208" y="41"/>
                    <a:pt x="212" y="41"/>
                  </a:cubicBezTo>
                  <a:cubicBezTo>
                    <a:pt x="214" y="41"/>
                    <a:pt x="217" y="41"/>
                    <a:pt x="219" y="41"/>
                  </a:cubicBezTo>
                  <a:lnTo>
                    <a:pt x="220" y="29"/>
                  </a:lnTo>
                  <a:close/>
                  <a:moveTo>
                    <a:pt x="281" y="29"/>
                  </a:moveTo>
                  <a:lnTo>
                    <a:pt x="266" y="29"/>
                  </a:lnTo>
                  <a:cubicBezTo>
                    <a:pt x="266" y="30"/>
                    <a:pt x="266" y="31"/>
                    <a:pt x="266" y="33"/>
                  </a:cubicBezTo>
                  <a:cubicBezTo>
                    <a:pt x="262" y="30"/>
                    <a:pt x="257" y="28"/>
                    <a:pt x="252" y="28"/>
                  </a:cubicBezTo>
                  <a:cubicBezTo>
                    <a:pt x="236" y="28"/>
                    <a:pt x="229" y="40"/>
                    <a:pt x="229" y="57"/>
                  </a:cubicBezTo>
                  <a:cubicBezTo>
                    <a:pt x="229" y="68"/>
                    <a:pt x="232" y="86"/>
                    <a:pt x="249" y="86"/>
                  </a:cubicBezTo>
                  <a:cubicBezTo>
                    <a:pt x="255" y="86"/>
                    <a:pt x="261" y="83"/>
                    <a:pt x="265" y="78"/>
                  </a:cubicBezTo>
                  <a:cubicBezTo>
                    <a:pt x="265" y="78"/>
                    <a:pt x="265" y="82"/>
                    <a:pt x="265" y="83"/>
                  </a:cubicBezTo>
                  <a:lnTo>
                    <a:pt x="265" y="87"/>
                  </a:lnTo>
                  <a:cubicBezTo>
                    <a:pt x="265" y="88"/>
                    <a:pt x="264" y="90"/>
                    <a:pt x="264" y="91"/>
                  </a:cubicBezTo>
                  <a:cubicBezTo>
                    <a:pt x="263" y="95"/>
                    <a:pt x="260" y="97"/>
                    <a:pt x="254" y="97"/>
                  </a:cubicBezTo>
                  <a:cubicBezTo>
                    <a:pt x="246" y="97"/>
                    <a:pt x="239" y="95"/>
                    <a:pt x="232" y="92"/>
                  </a:cubicBezTo>
                  <a:lnTo>
                    <a:pt x="231" y="106"/>
                  </a:lnTo>
                  <a:cubicBezTo>
                    <a:pt x="238" y="109"/>
                    <a:pt x="246" y="110"/>
                    <a:pt x="254" y="110"/>
                  </a:cubicBezTo>
                  <a:cubicBezTo>
                    <a:pt x="268" y="110"/>
                    <a:pt x="277" y="105"/>
                    <a:pt x="279" y="94"/>
                  </a:cubicBezTo>
                  <a:cubicBezTo>
                    <a:pt x="280" y="91"/>
                    <a:pt x="280" y="88"/>
                    <a:pt x="280" y="85"/>
                  </a:cubicBezTo>
                  <a:lnTo>
                    <a:pt x="280" y="43"/>
                  </a:lnTo>
                  <a:cubicBezTo>
                    <a:pt x="280" y="36"/>
                    <a:pt x="281" y="29"/>
                    <a:pt x="281" y="29"/>
                  </a:cubicBezTo>
                  <a:moveTo>
                    <a:pt x="265" y="67"/>
                  </a:moveTo>
                  <a:cubicBezTo>
                    <a:pt x="262" y="71"/>
                    <a:pt x="258" y="73"/>
                    <a:pt x="253" y="73"/>
                  </a:cubicBezTo>
                  <a:cubicBezTo>
                    <a:pt x="246" y="73"/>
                    <a:pt x="244" y="63"/>
                    <a:pt x="244" y="57"/>
                  </a:cubicBezTo>
                  <a:cubicBezTo>
                    <a:pt x="244" y="51"/>
                    <a:pt x="245" y="40"/>
                    <a:pt x="254" y="40"/>
                  </a:cubicBezTo>
                  <a:cubicBezTo>
                    <a:pt x="258" y="40"/>
                    <a:pt x="261" y="41"/>
                    <a:pt x="265" y="43"/>
                  </a:cubicBezTo>
                  <a:lnTo>
                    <a:pt x="265" y="67"/>
                  </a:lnTo>
                  <a:close/>
                  <a:moveTo>
                    <a:pt x="312" y="10"/>
                  </a:moveTo>
                  <a:cubicBezTo>
                    <a:pt x="312" y="5"/>
                    <a:pt x="308" y="0"/>
                    <a:pt x="302" y="0"/>
                  </a:cubicBezTo>
                  <a:cubicBezTo>
                    <a:pt x="290" y="0"/>
                    <a:pt x="290" y="19"/>
                    <a:pt x="302" y="19"/>
                  </a:cubicBezTo>
                  <a:cubicBezTo>
                    <a:pt x="307" y="19"/>
                    <a:pt x="312" y="15"/>
                    <a:pt x="312" y="10"/>
                  </a:cubicBezTo>
                  <a:close/>
                  <a:moveTo>
                    <a:pt x="310" y="86"/>
                  </a:moveTo>
                  <a:lnTo>
                    <a:pt x="310" y="41"/>
                  </a:lnTo>
                  <a:cubicBezTo>
                    <a:pt x="310" y="37"/>
                    <a:pt x="310" y="33"/>
                    <a:pt x="309" y="29"/>
                  </a:cubicBezTo>
                  <a:lnTo>
                    <a:pt x="295" y="29"/>
                  </a:lnTo>
                  <a:lnTo>
                    <a:pt x="295" y="86"/>
                  </a:lnTo>
                  <a:lnTo>
                    <a:pt x="310" y="86"/>
                  </a:lnTo>
                  <a:close/>
                  <a:moveTo>
                    <a:pt x="372" y="56"/>
                  </a:moveTo>
                  <a:cubicBezTo>
                    <a:pt x="372" y="43"/>
                    <a:pt x="367" y="28"/>
                    <a:pt x="348" y="28"/>
                  </a:cubicBezTo>
                  <a:cubicBezTo>
                    <a:pt x="331" y="28"/>
                    <a:pt x="323" y="42"/>
                    <a:pt x="323" y="58"/>
                  </a:cubicBezTo>
                  <a:cubicBezTo>
                    <a:pt x="323" y="68"/>
                    <a:pt x="326" y="87"/>
                    <a:pt x="347" y="87"/>
                  </a:cubicBezTo>
                  <a:cubicBezTo>
                    <a:pt x="355" y="87"/>
                    <a:pt x="364" y="85"/>
                    <a:pt x="371" y="81"/>
                  </a:cubicBezTo>
                  <a:lnTo>
                    <a:pt x="371" y="69"/>
                  </a:lnTo>
                  <a:cubicBezTo>
                    <a:pt x="364" y="73"/>
                    <a:pt x="357" y="75"/>
                    <a:pt x="349" y="75"/>
                  </a:cubicBezTo>
                  <a:cubicBezTo>
                    <a:pt x="342" y="75"/>
                    <a:pt x="339" y="71"/>
                    <a:pt x="339" y="61"/>
                  </a:cubicBezTo>
                  <a:lnTo>
                    <a:pt x="372" y="61"/>
                  </a:lnTo>
                  <a:cubicBezTo>
                    <a:pt x="372" y="61"/>
                    <a:pt x="372" y="57"/>
                    <a:pt x="372" y="56"/>
                  </a:cubicBezTo>
                  <a:moveTo>
                    <a:pt x="357" y="52"/>
                  </a:moveTo>
                  <a:lnTo>
                    <a:pt x="339" y="52"/>
                  </a:lnTo>
                  <a:cubicBezTo>
                    <a:pt x="339" y="47"/>
                    <a:pt x="341" y="39"/>
                    <a:pt x="348" y="39"/>
                  </a:cubicBezTo>
                  <a:cubicBezTo>
                    <a:pt x="356" y="39"/>
                    <a:pt x="357" y="47"/>
                    <a:pt x="357" y="52"/>
                  </a:cubicBezTo>
                  <a:moveTo>
                    <a:pt x="403" y="79"/>
                  </a:moveTo>
                  <a:cubicBezTo>
                    <a:pt x="402" y="67"/>
                    <a:pt x="385" y="67"/>
                    <a:pt x="384" y="79"/>
                  </a:cubicBezTo>
                  <a:cubicBezTo>
                    <a:pt x="384" y="84"/>
                    <a:pt x="388" y="88"/>
                    <a:pt x="394" y="87"/>
                  </a:cubicBezTo>
                  <a:cubicBezTo>
                    <a:pt x="399" y="88"/>
                    <a:pt x="403" y="84"/>
                    <a:pt x="403" y="79"/>
                  </a:cubicBezTo>
                  <a:close/>
                  <a:moveTo>
                    <a:pt x="525" y="10"/>
                  </a:moveTo>
                  <a:lnTo>
                    <a:pt x="509" y="9"/>
                  </a:lnTo>
                  <a:lnTo>
                    <a:pt x="500" y="46"/>
                  </a:lnTo>
                  <a:cubicBezTo>
                    <a:pt x="499" y="52"/>
                    <a:pt x="497" y="63"/>
                    <a:pt x="497" y="65"/>
                  </a:cubicBezTo>
                  <a:cubicBezTo>
                    <a:pt x="496" y="63"/>
                    <a:pt x="494" y="52"/>
                    <a:pt x="493" y="46"/>
                  </a:cubicBezTo>
                  <a:lnTo>
                    <a:pt x="485" y="9"/>
                  </a:lnTo>
                  <a:lnTo>
                    <a:pt x="468" y="9"/>
                  </a:lnTo>
                  <a:lnTo>
                    <a:pt x="460" y="46"/>
                  </a:lnTo>
                  <a:cubicBezTo>
                    <a:pt x="458" y="52"/>
                    <a:pt x="457" y="62"/>
                    <a:pt x="456" y="65"/>
                  </a:cubicBezTo>
                  <a:cubicBezTo>
                    <a:pt x="456" y="62"/>
                    <a:pt x="454" y="52"/>
                    <a:pt x="453" y="46"/>
                  </a:cubicBezTo>
                  <a:lnTo>
                    <a:pt x="444" y="8"/>
                  </a:lnTo>
                  <a:lnTo>
                    <a:pt x="427" y="9"/>
                  </a:lnTo>
                  <a:lnTo>
                    <a:pt x="448" y="86"/>
                  </a:lnTo>
                  <a:lnTo>
                    <a:pt x="464" y="86"/>
                  </a:lnTo>
                  <a:lnTo>
                    <a:pt x="472" y="51"/>
                  </a:lnTo>
                  <a:cubicBezTo>
                    <a:pt x="473" y="45"/>
                    <a:pt x="476" y="31"/>
                    <a:pt x="476" y="31"/>
                  </a:cubicBezTo>
                  <a:cubicBezTo>
                    <a:pt x="476" y="31"/>
                    <a:pt x="479" y="45"/>
                    <a:pt x="480" y="51"/>
                  </a:cubicBezTo>
                  <a:lnTo>
                    <a:pt x="488" y="86"/>
                  </a:lnTo>
                  <a:lnTo>
                    <a:pt x="505" y="86"/>
                  </a:lnTo>
                  <a:lnTo>
                    <a:pt x="525" y="10"/>
                  </a:lnTo>
                  <a:close/>
                  <a:moveTo>
                    <a:pt x="578" y="86"/>
                  </a:moveTo>
                  <a:cubicBezTo>
                    <a:pt x="578" y="82"/>
                    <a:pt x="577" y="78"/>
                    <a:pt x="577" y="74"/>
                  </a:cubicBezTo>
                  <a:lnTo>
                    <a:pt x="577" y="47"/>
                  </a:lnTo>
                  <a:cubicBezTo>
                    <a:pt x="578" y="42"/>
                    <a:pt x="577" y="37"/>
                    <a:pt x="574" y="33"/>
                  </a:cubicBezTo>
                  <a:cubicBezTo>
                    <a:pt x="570" y="29"/>
                    <a:pt x="564" y="27"/>
                    <a:pt x="559" y="28"/>
                  </a:cubicBezTo>
                  <a:cubicBezTo>
                    <a:pt x="551" y="28"/>
                    <a:pt x="543" y="30"/>
                    <a:pt x="535" y="33"/>
                  </a:cubicBezTo>
                  <a:lnTo>
                    <a:pt x="536" y="45"/>
                  </a:lnTo>
                  <a:cubicBezTo>
                    <a:pt x="542" y="42"/>
                    <a:pt x="549" y="40"/>
                    <a:pt x="556" y="40"/>
                  </a:cubicBezTo>
                  <a:cubicBezTo>
                    <a:pt x="561" y="40"/>
                    <a:pt x="562" y="42"/>
                    <a:pt x="562" y="46"/>
                  </a:cubicBezTo>
                  <a:lnTo>
                    <a:pt x="562" y="52"/>
                  </a:lnTo>
                  <a:cubicBezTo>
                    <a:pt x="553" y="52"/>
                    <a:pt x="545" y="54"/>
                    <a:pt x="537" y="58"/>
                  </a:cubicBezTo>
                  <a:cubicBezTo>
                    <a:pt x="533" y="61"/>
                    <a:pt x="531" y="65"/>
                    <a:pt x="532" y="70"/>
                  </a:cubicBezTo>
                  <a:cubicBezTo>
                    <a:pt x="531" y="79"/>
                    <a:pt x="538" y="87"/>
                    <a:pt x="548" y="87"/>
                  </a:cubicBezTo>
                  <a:cubicBezTo>
                    <a:pt x="553" y="87"/>
                    <a:pt x="559" y="84"/>
                    <a:pt x="563" y="81"/>
                  </a:cubicBezTo>
                  <a:cubicBezTo>
                    <a:pt x="563" y="82"/>
                    <a:pt x="563" y="84"/>
                    <a:pt x="564" y="86"/>
                  </a:cubicBezTo>
                  <a:lnTo>
                    <a:pt x="578" y="86"/>
                  </a:lnTo>
                  <a:close/>
                  <a:moveTo>
                    <a:pt x="562" y="71"/>
                  </a:moveTo>
                  <a:cubicBezTo>
                    <a:pt x="559" y="74"/>
                    <a:pt x="556" y="75"/>
                    <a:pt x="552" y="76"/>
                  </a:cubicBezTo>
                  <a:cubicBezTo>
                    <a:pt x="548" y="76"/>
                    <a:pt x="547" y="72"/>
                    <a:pt x="547" y="69"/>
                  </a:cubicBezTo>
                  <a:cubicBezTo>
                    <a:pt x="547" y="67"/>
                    <a:pt x="547" y="65"/>
                    <a:pt x="549" y="64"/>
                  </a:cubicBezTo>
                  <a:cubicBezTo>
                    <a:pt x="553" y="62"/>
                    <a:pt x="557" y="60"/>
                    <a:pt x="562" y="61"/>
                  </a:cubicBezTo>
                  <a:lnTo>
                    <a:pt x="562" y="71"/>
                  </a:lnTo>
                  <a:close/>
                  <a:moveTo>
                    <a:pt x="632" y="69"/>
                  </a:moveTo>
                  <a:cubicBezTo>
                    <a:pt x="632" y="55"/>
                    <a:pt x="619" y="53"/>
                    <a:pt x="610" y="49"/>
                  </a:cubicBezTo>
                  <a:cubicBezTo>
                    <a:pt x="608" y="48"/>
                    <a:pt x="606" y="47"/>
                    <a:pt x="606" y="44"/>
                  </a:cubicBezTo>
                  <a:cubicBezTo>
                    <a:pt x="606" y="42"/>
                    <a:pt x="607" y="40"/>
                    <a:pt x="611" y="40"/>
                  </a:cubicBezTo>
                  <a:cubicBezTo>
                    <a:pt x="617" y="40"/>
                    <a:pt x="623" y="41"/>
                    <a:pt x="628" y="44"/>
                  </a:cubicBezTo>
                  <a:lnTo>
                    <a:pt x="629" y="31"/>
                  </a:lnTo>
                  <a:cubicBezTo>
                    <a:pt x="623" y="29"/>
                    <a:pt x="618" y="28"/>
                    <a:pt x="612" y="28"/>
                  </a:cubicBezTo>
                  <a:cubicBezTo>
                    <a:pt x="601" y="27"/>
                    <a:pt x="591" y="35"/>
                    <a:pt x="591" y="46"/>
                  </a:cubicBezTo>
                  <a:cubicBezTo>
                    <a:pt x="591" y="58"/>
                    <a:pt x="604" y="61"/>
                    <a:pt x="612" y="65"/>
                  </a:cubicBezTo>
                  <a:cubicBezTo>
                    <a:pt x="615" y="66"/>
                    <a:pt x="617" y="67"/>
                    <a:pt x="617" y="70"/>
                  </a:cubicBezTo>
                  <a:cubicBezTo>
                    <a:pt x="617" y="73"/>
                    <a:pt x="615" y="75"/>
                    <a:pt x="611" y="75"/>
                  </a:cubicBezTo>
                  <a:cubicBezTo>
                    <a:pt x="604" y="74"/>
                    <a:pt x="597" y="72"/>
                    <a:pt x="591" y="69"/>
                  </a:cubicBezTo>
                  <a:lnTo>
                    <a:pt x="590" y="83"/>
                  </a:lnTo>
                  <a:cubicBezTo>
                    <a:pt x="597" y="86"/>
                    <a:pt x="604" y="87"/>
                    <a:pt x="611" y="88"/>
                  </a:cubicBezTo>
                  <a:cubicBezTo>
                    <a:pt x="622" y="89"/>
                    <a:pt x="632" y="80"/>
                    <a:pt x="632" y="69"/>
                  </a:cubicBezTo>
                  <a:moveTo>
                    <a:pt x="684" y="69"/>
                  </a:moveTo>
                  <a:cubicBezTo>
                    <a:pt x="684" y="55"/>
                    <a:pt x="671" y="53"/>
                    <a:pt x="661" y="49"/>
                  </a:cubicBezTo>
                  <a:cubicBezTo>
                    <a:pt x="659" y="48"/>
                    <a:pt x="657" y="47"/>
                    <a:pt x="657" y="45"/>
                  </a:cubicBezTo>
                  <a:cubicBezTo>
                    <a:pt x="657" y="43"/>
                    <a:pt x="659" y="40"/>
                    <a:pt x="663" y="40"/>
                  </a:cubicBezTo>
                  <a:cubicBezTo>
                    <a:pt x="669" y="40"/>
                    <a:pt x="674" y="42"/>
                    <a:pt x="680" y="44"/>
                  </a:cubicBezTo>
                  <a:lnTo>
                    <a:pt x="680" y="31"/>
                  </a:lnTo>
                  <a:cubicBezTo>
                    <a:pt x="675" y="29"/>
                    <a:pt x="669" y="28"/>
                    <a:pt x="663" y="28"/>
                  </a:cubicBezTo>
                  <a:cubicBezTo>
                    <a:pt x="652" y="27"/>
                    <a:pt x="643" y="35"/>
                    <a:pt x="642" y="46"/>
                  </a:cubicBezTo>
                  <a:cubicBezTo>
                    <a:pt x="642" y="58"/>
                    <a:pt x="655" y="61"/>
                    <a:pt x="664" y="65"/>
                  </a:cubicBezTo>
                  <a:cubicBezTo>
                    <a:pt x="667" y="66"/>
                    <a:pt x="669" y="67"/>
                    <a:pt x="669" y="70"/>
                  </a:cubicBezTo>
                  <a:cubicBezTo>
                    <a:pt x="669" y="73"/>
                    <a:pt x="666" y="75"/>
                    <a:pt x="663" y="75"/>
                  </a:cubicBezTo>
                  <a:cubicBezTo>
                    <a:pt x="656" y="74"/>
                    <a:pt x="649" y="72"/>
                    <a:pt x="643" y="69"/>
                  </a:cubicBezTo>
                  <a:lnTo>
                    <a:pt x="642" y="83"/>
                  </a:lnTo>
                  <a:cubicBezTo>
                    <a:pt x="648" y="86"/>
                    <a:pt x="655" y="87"/>
                    <a:pt x="662" y="88"/>
                  </a:cubicBezTo>
                  <a:cubicBezTo>
                    <a:pt x="673" y="89"/>
                    <a:pt x="683" y="80"/>
                    <a:pt x="684" y="69"/>
                  </a:cubicBezTo>
                  <a:moveTo>
                    <a:pt x="743" y="56"/>
                  </a:moveTo>
                  <a:cubicBezTo>
                    <a:pt x="743" y="43"/>
                    <a:pt x="737" y="28"/>
                    <a:pt x="718" y="28"/>
                  </a:cubicBezTo>
                  <a:cubicBezTo>
                    <a:pt x="701" y="28"/>
                    <a:pt x="693" y="43"/>
                    <a:pt x="693" y="58"/>
                  </a:cubicBezTo>
                  <a:cubicBezTo>
                    <a:pt x="693" y="68"/>
                    <a:pt x="697" y="87"/>
                    <a:pt x="717" y="87"/>
                  </a:cubicBezTo>
                  <a:cubicBezTo>
                    <a:pt x="726" y="88"/>
                    <a:pt x="734" y="86"/>
                    <a:pt x="742" y="81"/>
                  </a:cubicBezTo>
                  <a:lnTo>
                    <a:pt x="741" y="70"/>
                  </a:lnTo>
                  <a:cubicBezTo>
                    <a:pt x="734" y="73"/>
                    <a:pt x="727" y="75"/>
                    <a:pt x="720" y="76"/>
                  </a:cubicBezTo>
                  <a:cubicBezTo>
                    <a:pt x="713" y="76"/>
                    <a:pt x="709" y="71"/>
                    <a:pt x="709" y="61"/>
                  </a:cubicBezTo>
                  <a:lnTo>
                    <a:pt x="742" y="61"/>
                  </a:lnTo>
                  <a:cubicBezTo>
                    <a:pt x="742" y="61"/>
                    <a:pt x="743" y="57"/>
                    <a:pt x="743" y="56"/>
                  </a:cubicBezTo>
                  <a:moveTo>
                    <a:pt x="727" y="52"/>
                  </a:moveTo>
                  <a:lnTo>
                    <a:pt x="710" y="52"/>
                  </a:lnTo>
                  <a:cubicBezTo>
                    <a:pt x="710" y="47"/>
                    <a:pt x="711" y="39"/>
                    <a:pt x="718" y="39"/>
                  </a:cubicBezTo>
                  <a:cubicBezTo>
                    <a:pt x="726" y="39"/>
                    <a:pt x="727" y="47"/>
                    <a:pt x="727" y="52"/>
                  </a:cubicBezTo>
                  <a:close/>
                  <a:moveTo>
                    <a:pt x="790" y="29"/>
                  </a:moveTo>
                  <a:cubicBezTo>
                    <a:pt x="790" y="29"/>
                    <a:pt x="789" y="28"/>
                    <a:pt x="783" y="28"/>
                  </a:cubicBezTo>
                  <a:cubicBezTo>
                    <a:pt x="779" y="29"/>
                    <a:pt x="775" y="31"/>
                    <a:pt x="772" y="35"/>
                  </a:cubicBezTo>
                  <a:cubicBezTo>
                    <a:pt x="772" y="35"/>
                    <a:pt x="771" y="35"/>
                    <a:pt x="771" y="36"/>
                  </a:cubicBezTo>
                  <a:cubicBezTo>
                    <a:pt x="771" y="34"/>
                    <a:pt x="771" y="31"/>
                    <a:pt x="770" y="29"/>
                  </a:cubicBezTo>
                  <a:lnTo>
                    <a:pt x="756" y="29"/>
                  </a:lnTo>
                  <a:cubicBezTo>
                    <a:pt x="756" y="34"/>
                    <a:pt x="756" y="38"/>
                    <a:pt x="756" y="43"/>
                  </a:cubicBezTo>
                  <a:lnTo>
                    <a:pt x="756" y="86"/>
                  </a:lnTo>
                  <a:lnTo>
                    <a:pt x="772" y="86"/>
                  </a:lnTo>
                  <a:lnTo>
                    <a:pt x="772" y="46"/>
                  </a:lnTo>
                  <a:cubicBezTo>
                    <a:pt x="774" y="43"/>
                    <a:pt x="777" y="42"/>
                    <a:pt x="781" y="41"/>
                  </a:cubicBezTo>
                  <a:cubicBezTo>
                    <a:pt x="784" y="41"/>
                    <a:pt x="786" y="41"/>
                    <a:pt x="789" y="41"/>
                  </a:cubicBezTo>
                  <a:lnTo>
                    <a:pt x="790" y="29"/>
                  </a:lnTo>
                  <a:close/>
                  <a:moveTo>
                    <a:pt x="805" y="79"/>
                  </a:moveTo>
                  <a:cubicBezTo>
                    <a:pt x="804" y="67"/>
                    <a:pt x="787" y="67"/>
                    <a:pt x="786" y="79"/>
                  </a:cubicBezTo>
                  <a:cubicBezTo>
                    <a:pt x="786" y="84"/>
                    <a:pt x="790" y="88"/>
                    <a:pt x="796" y="88"/>
                  </a:cubicBezTo>
                  <a:cubicBezTo>
                    <a:pt x="801" y="88"/>
                    <a:pt x="805" y="84"/>
                    <a:pt x="805" y="79"/>
                  </a:cubicBezTo>
                  <a:moveTo>
                    <a:pt x="891" y="86"/>
                  </a:moveTo>
                  <a:lnTo>
                    <a:pt x="891" y="72"/>
                  </a:lnTo>
                  <a:lnTo>
                    <a:pt x="859" y="72"/>
                  </a:lnTo>
                  <a:lnTo>
                    <a:pt x="859" y="9"/>
                  </a:lnTo>
                  <a:lnTo>
                    <a:pt x="843" y="9"/>
                  </a:lnTo>
                  <a:lnTo>
                    <a:pt x="843" y="86"/>
                  </a:lnTo>
                  <a:lnTo>
                    <a:pt x="891" y="86"/>
                  </a:lnTo>
                  <a:close/>
                  <a:moveTo>
                    <a:pt x="949" y="56"/>
                  </a:moveTo>
                  <a:cubicBezTo>
                    <a:pt x="949" y="43"/>
                    <a:pt x="944" y="28"/>
                    <a:pt x="924" y="28"/>
                  </a:cubicBezTo>
                  <a:cubicBezTo>
                    <a:pt x="907" y="28"/>
                    <a:pt x="900" y="43"/>
                    <a:pt x="900" y="58"/>
                  </a:cubicBezTo>
                  <a:cubicBezTo>
                    <a:pt x="900" y="68"/>
                    <a:pt x="903" y="87"/>
                    <a:pt x="923" y="87"/>
                  </a:cubicBezTo>
                  <a:cubicBezTo>
                    <a:pt x="932" y="88"/>
                    <a:pt x="940" y="86"/>
                    <a:pt x="948" y="81"/>
                  </a:cubicBezTo>
                  <a:lnTo>
                    <a:pt x="947" y="70"/>
                  </a:lnTo>
                  <a:cubicBezTo>
                    <a:pt x="941" y="73"/>
                    <a:pt x="933" y="75"/>
                    <a:pt x="926" y="76"/>
                  </a:cubicBezTo>
                  <a:cubicBezTo>
                    <a:pt x="919" y="76"/>
                    <a:pt x="916" y="71"/>
                    <a:pt x="916" y="61"/>
                  </a:cubicBezTo>
                  <a:lnTo>
                    <a:pt x="949" y="61"/>
                  </a:lnTo>
                  <a:cubicBezTo>
                    <a:pt x="949" y="61"/>
                    <a:pt x="949" y="57"/>
                    <a:pt x="949" y="56"/>
                  </a:cubicBezTo>
                  <a:moveTo>
                    <a:pt x="933" y="52"/>
                  </a:moveTo>
                  <a:lnTo>
                    <a:pt x="916" y="52"/>
                  </a:lnTo>
                  <a:cubicBezTo>
                    <a:pt x="916" y="47"/>
                    <a:pt x="917" y="39"/>
                    <a:pt x="924" y="39"/>
                  </a:cubicBezTo>
                  <a:cubicBezTo>
                    <a:pt x="932" y="39"/>
                    <a:pt x="933" y="47"/>
                    <a:pt x="933" y="52"/>
                  </a:cubicBezTo>
                  <a:close/>
                  <a:moveTo>
                    <a:pt x="1015" y="57"/>
                  </a:moveTo>
                  <a:cubicBezTo>
                    <a:pt x="1015" y="46"/>
                    <a:pt x="1012" y="28"/>
                    <a:pt x="993" y="28"/>
                  </a:cubicBezTo>
                  <a:cubicBezTo>
                    <a:pt x="988" y="28"/>
                    <a:pt x="982" y="30"/>
                    <a:pt x="978" y="34"/>
                  </a:cubicBezTo>
                  <a:cubicBezTo>
                    <a:pt x="978" y="34"/>
                    <a:pt x="978" y="30"/>
                    <a:pt x="978" y="28"/>
                  </a:cubicBezTo>
                  <a:lnTo>
                    <a:pt x="978" y="3"/>
                  </a:lnTo>
                  <a:lnTo>
                    <a:pt x="963" y="4"/>
                  </a:lnTo>
                  <a:lnTo>
                    <a:pt x="963" y="74"/>
                  </a:lnTo>
                  <a:cubicBezTo>
                    <a:pt x="963" y="78"/>
                    <a:pt x="962" y="82"/>
                    <a:pt x="962" y="86"/>
                  </a:cubicBezTo>
                  <a:lnTo>
                    <a:pt x="977" y="86"/>
                  </a:lnTo>
                  <a:cubicBezTo>
                    <a:pt x="977" y="85"/>
                    <a:pt x="977" y="83"/>
                    <a:pt x="977" y="82"/>
                  </a:cubicBezTo>
                  <a:cubicBezTo>
                    <a:pt x="982" y="85"/>
                    <a:pt x="987" y="87"/>
                    <a:pt x="993" y="87"/>
                  </a:cubicBezTo>
                  <a:cubicBezTo>
                    <a:pt x="1007" y="87"/>
                    <a:pt x="1015" y="74"/>
                    <a:pt x="1015" y="57"/>
                  </a:cubicBezTo>
                  <a:moveTo>
                    <a:pt x="999" y="57"/>
                  </a:moveTo>
                  <a:cubicBezTo>
                    <a:pt x="999" y="70"/>
                    <a:pt x="994" y="75"/>
                    <a:pt x="990" y="75"/>
                  </a:cubicBezTo>
                  <a:cubicBezTo>
                    <a:pt x="986" y="75"/>
                    <a:pt x="982" y="73"/>
                    <a:pt x="978" y="71"/>
                  </a:cubicBezTo>
                  <a:lnTo>
                    <a:pt x="978" y="45"/>
                  </a:lnTo>
                  <a:cubicBezTo>
                    <a:pt x="982" y="42"/>
                    <a:pt x="986" y="40"/>
                    <a:pt x="990" y="40"/>
                  </a:cubicBezTo>
                  <a:cubicBezTo>
                    <a:pt x="998" y="40"/>
                    <a:pt x="999" y="51"/>
                    <a:pt x="999" y="57"/>
                  </a:cubicBezTo>
                  <a:moveTo>
                    <a:pt x="1075" y="56"/>
                  </a:moveTo>
                  <a:cubicBezTo>
                    <a:pt x="1075" y="43"/>
                    <a:pt x="1070" y="28"/>
                    <a:pt x="1050" y="28"/>
                  </a:cubicBezTo>
                  <a:cubicBezTo>
                    <a:pt x="1033" y="28"/>
                    <a:pt x="1026" y="43"/>
                    <a:pt x="1026" y="58"/>
                  </a:cubicBezTo>
                  <a:cubicBezTo>
                    <a:pt x="1026" y="68"/>
                    <a:pt x="1029" y="87"/>
                    <a:pt x="1049" y="87"/>
                  </a:cubicBezTo>
                  <a:cubicBezTo>
                    <a:pt x="1058" y="88"/>
                    <a:pt x="1066" y="86"/>
                    <a:pt x="1074" y="81"/>
                  </a:cubicBezTo>
                  <a:lnTo>
                    <a:pt x="1073" y="70"/>
                  </a:lnTo>
                  <a:cubicBezTo>
                    <a:pt x="1067" y="73"/>
                    <a:pt x="1059" y="75"/>
                    <a:pt x="1052" y="76"/>
                  </a:cubicBezTo>
                  <a:cubicBezTo>
                    <a:pt x="1045" y="76"/>
                    <a:pt x="1042" y="71"/>
                    <a:pt x="1042" y="61"/>
                  </a:cubicBezTo>
                  <a:lnTo>
                    <a:pt x="1075" y="61"/>
                  </a:lnTo>
                  <a:cubicBezTo>
                    <a:pt x="1075" y="61"/>
                    <a:pt x="1075" y="57"/>
                    <a:pt x="1075" y="56"/>
                  </a:cubicBezTo>
                  <a:moveTo>
                    <a:pt x="1060" y="52"/>
                  </a:moveTo>
                  <a:lnTo>
                    <a:pt x="1042" y="52"/>
                  </a:lnTo>
                  <a:cubicBezTo>
                    <a:pt x="1042" y="47"/>
                    <a:pt x="1043" y="39"/>
                    <a:pt x="1050" y="39"/>
                  </a:cubicBezTo>
                  <a:cubicBezTo>
                    <a:pt x="1058" y="39"/>
                    <a:pt x="1060" y="47"/>
                    <a:pt x="1060" y="52"/>
                  </a:cubicBezTo>
                  <a:close/>
                  <a:moveTo>
                    <a:pt x="1138" y="86"/>
                  </a:moveTo>
                  <a:lnTo>
                    <a:pt x="1138" y="47"/>
                  </a:lnTo>
                  <a:cubicBezTo>
                    <a:pt x="1139" y="42"/>
                    <a:pt x="1138" y="38"/>
                    <a:pt x="1135" y="34"/>
                  </a:cubicBezTo>
                  <a:cubicBezTo>
                    <a:pt x="1132" y="30"/>
                    <a:pt x="1127" y="27"/>
                    <a:pt x="1121" y="28"/>
                  </a:cubicBezTo>
                  <a:cubicBezTo>
                    <a:pt x="1115" y="29"/>
                    <a:pt x="1108" y="32"/>
                    <a:pt x="1103" y="37"/>
                  </a:cubicBezTo>
                  <a:cubicBezTo>
                    <a:pt x="1103" y="34"/>
                    <a:pt x="1103" y="32"/>
                    <a:pt x="1102" y="29"/>
                  </a:cubicBezTo>
                  <a:lnTo>
                    <a:pt x="1088" y="29"/>
                  </a:lnTo>
                  <a:cubicBezTo>
                    <a:pt x="1088" y="29"/>
                    <a:pt x="1089" y="36"/>
                    <a:pt x="1089" y="43"/>
                  </a:cubicBezTo>
                  <a:lnTo>
                    <a:pt x="1089" y="86"/>
                  </a:lnTo>
                  <a:lnTo>
                    <a:pt x="1104" y="86"/>
                  </a:lnTo>
                  <a:lnTo>
                    <a:pt x="1104" y="48"/>
                  </a:lnTo>
                  <a:cubicBezTo>
                    <a:pt x="1107" y="44"/>
                    <a:pt x="1112" y="42"/>
                    <a:pt x="1116" y="41"/>
                  </a:cubicBezTo>
                  <a:cubicBezTo>
                    <a:pt x="1120" y="41"/>
                    <a:pt x="1123" y="42"/>
                    <a:pt x="1123" y="48"/>
                  </a:cubicBezTo>
                  <a:lnTo>
                    <a:pt x="1123" y="86"/>
                  </a:lnTo>
                  <a:lnTo>
                    <a:pt x="1138" y="86"/>
                  </a:lnTo>
                  <a:close/>
                  <a:moveTo>
                    <a:pt x="1170" y="79"/>
                  </a:moveTo>
                  <a:cubicBezTo>
                    <a:pt x="1170" y="74"/>
                    <a:pt x="1165" y="70"/>
                    <a:pt x="1160" y="70"/>
                  </a:cubicBezTo>
                  <a:cubicBezTo>
                    <a:pt x="1155" y="70"/>
                    <a:pt x="1151" y="74"/>
                    <a:pt x="1151" y="79"/>
                  </a:cubicBezTo>
                  <a:cubicBezTo>
                    <a:pt x="1151" y="84"/>
                    <a:pt x="1155" y="88"/>
                    <a:pt x="1160" y="88"/>
                  </a:cubicBezTo>
                  <a:cubicBezTo>
                    <a:pt x="1165" y="88"/>
                    <a:pt x="1170" y="84"/>
                    <a:pt x="1170" y="79"/>
                  </a:cubicBezTo>
                  <a:close/>
                </a:path>
              </a:pathLst>
            </a:custGeom>
            <a:solidFill>
              <a:srgbClr val="57687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3772609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bildplatzhalter 3">
            <a:extLst>
              <a:ext uri="{FF2B5EF4-FFF2-40B4-BE49-F238E27FC236}">
                <a16:creationId xmlns:a16="http://schemas.microsoft.com/office/drawing/2014/main" id="{E0E9BEBE-2C60-452A-A971-A737115D06A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47663" y="901700"/>
            <a:ext cx="3754437" cy="21129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9" name="Notizenplatzhalter 4">
            <a:extLst>
              <a:ext uri="{FF2B5EF4-FFF2-40B4-BE49-F238E27FC236}">
                <a16:creationId xmlns:a16="http://schemas.microsoft.com/office/drawing/2014/main" id="{F6BA4498-D519-49C7-A9B6-68FE1B1F08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3199" y="3339008"/>
            <a:ext cx="5933117" cy="6027175"/>
          </a:xfrm>
          <a:prstGeom prst="rect">
            <a:avLst/>
          </a:prstGeom>
          <a:noFill/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Kopfzeilenplatzhalter 1">
            <a:extLst>
              <a:ext uri="{FF2B5EF4-FFF2-40B4-BE49-F238E27FC236}">
                <a16:creationId xmlns:a16="http://schemas.microsoft.com/office/drawing/2014/main" id="{075F680B-FF3B-4E19-B8E4-1C6B9FDB1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509501" y="273467"/>
            <a:ext cx="4539192" cy="234825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Autor | Präsentationstitel</a:t>
            </a:r>
          </a:p>
        </p:txBody>
      </p:sp>
      <p:sp>
        <p:nvSpPr>
          <p:cNvPr id="11" name="Datumsplatzhalter 2">
            <a:extLst>
              <a:ext uri="{FF2B5EF4-FFF2-40B4-BE49-F238E27FC236}">
                <a16:creationId xmlns:a16="http://schemas.microsoft.com/office/drawing/2014/main" id="{67E30195-1C07-4584-87A0-64DA1719B9C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004008" y="9667484"/>
            <a:ext cx="714833" cy="2348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14.12.2020</a:t>
            </a:r>
          </a:p>
        </p:txBody>
      </p:sp>
      <p:sp>
        <p:nvSpPr>
          <p:cNvPr id="12" name="Fußzeilenplatzhalter 5">
            <a:extLst>
              <a:ext uri="{FF2B5EF4-FFF2-40B4-BE49-F238E27FC236}">
                <a16:creationId xmlns:a16="http://schemas.microsoft.com/office/drawing/2014/main" id="{63D9A217-BD8A-4EEC-A793-E6CC9D6568C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499627" y="9667045"/>
            <a:ext cx="2950475" cy="2348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© BDEW e.V. | Bundesverband der Energie- und Wasserwirtschaft </a:t>
            </a:r>
          </a:p>
        </p:txBody>
      </p:sp>
      <p:sp>
        <p:nvSpPr>
          <p:cNvPr id="13" name="Foliennummernplatzhalter 6">
            <a:extLst>
              <a:ext uri="{FF2B5EF4-FFF2-40B4-BE49-F238E27FC236}">
                <a16:creationId xmlns:a16="http://schemas.microsoft.com/office/drawing/2014/main" id="{28F76D38-850E-40E1-ACF6-D014D61166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718841" y="9667484"/>
            <a:ext cx="714833" cy="234825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Folie </a:t>
            </a:r>
            <a:fld id="{6D4C9060-DEFA-4A83-8BDF-49E32732D5D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E8F11487-3F45-4881-9B22-D8A152F02276}"/>
              </a:ext>
            </a:extLst>
          </p:cNvPr>
          <p:cNvCxnSpPr/>
          <p:nvPr/>
        </p:nvCxnSpPr>
        <p:spPr>
          <a:xfrm>
            <a:off x="0" y="592704"/>
            <a:ext cx="6812362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70962E1E-93B8-4D34-A5A8-5375C439F4FA}"/>
              </a:ext>
            </a:extLst>
          </p:cNvPr>
          <p:cNvGrpSpPr>
            <a:grpSpLocks noChangeAspect="1"/>
          </p:cNvGrpSpPr>
          <p:nvPr/>
        </p:nvGrpSpPr>
        <p:grpSpPr>
          <a:xfrm>
            <a:off x="5341205" y="0"/>
            <a:ext cx="1096185" cy="803764"/>
            <a:chOff x="5289242" y="-1340"/>
            <a:chExt cx="1104108" cy="739329"/>
          </a:xfrm>
        </p:grpSpPr>
        <p:sp>
          <p:nvSpPr>
            <p:cNvPr id="16" name="Rectangle 23">
              <a:extLst>
                <a:ext uri="{FF2B5EF4-FFF2-40B4-BE49-F238E27FC236}">
                  <a16:creationId xmlns:a16="http://schemas.microsoft.com/office/drawing/2014/main" id="{50412E10-62EF-48FC-A0F8-A3271577B1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9242" y="-1340"/>
              <a:ext cx="1104108" cy="739329"/>
            </a:xfrm>
            <a:prstGeom prst="rect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24">
              <a:extLst>
                <a:ext uri="{FF2B5EF4-FFF2-40B4-BE49-F238E27FC236}">
                  <a16:creationId xmlns:a16="http://schemas.microsoft.com/office/drawing/2014/main" id="{B1D9A13E-B727-45B4-A9B2-80F747FE3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3735" y="246595"/>
              <a:ext cx="216995" cy="186868"/>
            </a:xfrm>
            <a:custGeom>
              <a:avLst/>
              <a:gdLst>
                <a:gd name="T0" fmla="*/ 0 w 333"/>
                <a:gd name="T1" fmla="*/ 0 h 287"/>
                <a:gd name="T2" fmla="*/ 0 w 333"/>
                <a:gd name="T3" fmla="*/ 162 h 287"/>
                <a:gd name="T4" fmla="*/ 167 w 333"/>
                <a:gd name="T5" fmla="*/ 224 h 287"/>
                <a:gd name="T6" fmla="*/ 235 w 333"/>
                <a:gd name="T7" fmla="*/ 255 h 287"/>
                <a:gd name="T8" fmla="*/ 333 w 333"/>
                <a:gd name="T9" fmla="*/ 162 h 287"/>
                <a:gd name="T10" fmla="*/ 333 w 333"/>
                <a:gd name="T11" fmla="*/ 0 h 287"/>
                <a:gd name="T12" fmla="*/ 274 w 333"/>
                <a:gd name="T13" fmla="*/ 0 h 287"/>
                <a:gd name="T14" fmla="*/ 274 w 333"/>
                <a:gd name="T15" fmla="*/ 163 h 287"/>
                <a:gd name="T16" fmla="*/ 196 w 333"/>
                <a:gd name="T17" fmla="*/ 163 h 287"/>
                <a:gd name="T18" fmla="*/ 196 w 333"/>
                <a:gd name="T19" fmla="*/ 0 h 287"/>
                <a:gd name="T20" fmla="*/ 137 w 333"/>
                <a:gd name="T21" fmla="*/ 0 h 287"/>
                <a:gd name="T22" fmla="*/ 137 w 333"/>
                <a:gd name="T23" fmla="*/ 163 h 287"/>
                <a:gd name="T24" fmla="*/ 98 w 333"/>
                <a:gd name="T25" fmla="*/ 201 h 287"/>
                <a:gd name="T26" fmla="*/ 59 w 333"/>
                <a:gd name="T27" fmla="*/ 163 h 287"/>
                <a:gd name="T28" fmla="*/ 59 w 333"/>
                <a:gd name="T29" fmla="*/ 0 h 287"/>
                <a:gd name="T30" fmla="*/ 0 w 333"/>
                <a:gd name="T31" fmla="*/ 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3" h="287">
                  <a:moveTo>
                    <a:pt x="0" y="0"/>
                  </a:moveTo>
                  <a:lnTo>
                    <a:pt x="0" y="162"/>
                  </a:lnTo>
                  <a:cubicBezTo>
                    <a:pt x="3" y="248"/>
                    <a:pt x="108" y="287"/>
                    <a:pt x="167" y="224"/>
                  </a:cubicBezTo>
                  <a:cubicBezTo>
                    <a:pt x="184" y="244"/>
                    <a:pt x="209" y="255"/>
                    <a:pt x="235" y="255"/>
                  </a:cubicBezTo>
                  <a:cubicBezTo>
                    <a:pt x="287" y="256"/>
                    <a:pt x="331" y="215"/>
                    <a:pt x="333" y="162"/>
                  </a:cubicBezTo>
                  <a:lnTo>
                    <a:pt x="333" y="0"/>
                  </a:lnTo>
                  <a:lnTo>
                    <a:pt x="274" y="0"/>
                  </a:lnTo>
                  <a:lnTo>
                    <a:pt x="274" y="163"/>
                  </a:lnTo>
                  <a:cubicBezTo>
                    <a:pt x="272" y="213"/>
                    <a:pt x="198" y="213"/>
                    <a:pt x="196" y="163"/>
                  </a:cubicBezTo>
                  <a:lnTo>
                    <a:pt x="196" y="0"/>
                  </a:lnTo>
                  <a:lnTo>
                    <a:pt x="137" y="0"/>
                  </a:lnTo>
                  <a:lnTo>
                    <a:pt x="137" y="163"/>
                  </a:lnTo>
                  <a:cubicBezTo>
                    <a:pt x="137" y="184"/>
                    <a:pt x="119" y="201"/>
                    <a:pt x="98" y="201"/>
                  </a:cubicBezTo>
                  <a:cubicBezTo>
                    <a:pt x="77" y="201"/>
                    <a:pt x="60" y="184"/>
                    <a:pt x="59" y="163"/>
                  </a:cubicBezTo>
                  <a:lnTo>
                    <a:pt x="5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25">
              <a:extLst>
                <a:ext uri="{FF2B5EF4-FFF2-40B4-BE49-F238E27FC236}">
                  <a16:creationId xmlns:a16="http://schemas.microsoft.com/office/drawing/2014/main" id="{5489722D-B4A9-4274-8969-12394E992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4425" y="236011"/>
              <a:ext cx="176283" cy="183204"/>
            </a:xfrm>
            <a:custGeom>
              <a:avLst/>
              <a:gdLst>
                <a:gd name="T0" fmla="*/ 269 w 271"/>
                <a:gd name="T1" fmla="*/ 157 h 281"/>
                <a:gd name="T2" fmla="*/ 271 w 271"/>
                <a:gd name="T3" fmla="*/ 137 h 281"/>
                <a:gd name="T4" fmla="*/ 153 w 271"/>
                <a:gd name="T5" fmla="*/ 7 h 281"/>
                <a:gd name="T6" fmla="*/ 12 w 271"/>
                <a:gd name="T7" fmla="*/ 113 h 281"/>
                <a:gd name="T8" fmla="*/ 104 w 271"/>
                <a:gd name="T9" fmla="*/ 263 h 281"/>
                <a:gd name="T10" fmla="*/ 262 w 271"/>
                <a:gd name="T11" fmla="*/ 184 h 281"/>
                <a:gd name="T12" fmla="*/ 201 w 271"/>
                <a:gd name="T13" fmla="*/ 184 h 281"/>
                <a:gd name="T14" fmla="*/ 64 w 271"/>
                <a:gd name="T15" fmla="*/ 130 h 281"/>
                <a:gd name="T16" fmla="*/ 209 w 271"/>
                <a:gd name="T17" fmla="*/ 103 h 281"/>
                <a:gd name="T18" fmla="*/ 116 w 271"/>
                <a:gd name="T19" fmla="*/ 103 h 281"/>
                <a:gd name="T20" fmla="*/ 116 w 271"/>
                <a:gd name="T21" fmla="*/ 157 h 281"/>
                <a:gd name="T22" fmla="*/ 269 w 271"/>
                <a:gd name="T23" fmla="*/ 157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281">
                  <a:moveTo>
                    <a:pt x="269" y="157"/>
                  </a:moveTo>
                  <a:cubicBezTo>
                    <a:pt x="271" y="150"/>
                    <a:pt x="271" y="144"/>
                    <a:pt x="271" y="137"/>
                  </a:cubicBezTo>
                  <a:cubicBezTo>
                    <a:pt x="271" y="70"/>
                    <a:pt x="220" y="13"/>
                    <a:pt x="153" y="7"/>
                  </a:cubicBezTo>
                  <a:cubicBezTo>
                    <a:pt x="86" y="0"/>
                    <a:pt x="25" y="46"/>
                    <a:pt x="12" y="113"/>
                  </a:cubicBezTo>
                  <a:cubicBezTo>
                    <a:pt x="0" y="179"/>
                    <a:pt x="39" y="244"/>
                    <a:pt x="104" y="263"/>
                  </a:cubicBezTo>
                  <a:cubicBezTo>
                    <a:pt x="169" y="281"/>
                    <a:pt x="238" y="247"/>
                    <a:pt x="262" y="184"/>
                  </a:cubicBezTo>
                  <a:lnTo>
                    <a:pt x="201" y="184"/>
                  </a:lnTo>
                  <a:cubicBezTo>
                    <a:pt x="154" y="245"/>
                    <a:pt x="57" y="206"/>
                    <a:pt x="64" y="130"/>
                  </a:cubicBezTo>
                  <a:cubicBezTo>
                    <a:pt x="72" y="53"/>
                    <a:pt x="175" y="34"/>
                    <a:pt x="209" y="103"/>
                  </a:cubicBezTo>
                  <a:lnTo>
                    <a:pt x="116" y="103"/>
                  </a:lnTo>
                  <a:lnTo>
                    <a:pt x="116" y="157"/>
                  </a:lnTo>
                  <a:lnTo>
                    <a:pt x="269" y="157"/>
                  </a:lnTo>
                  <a:close/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26">
              <a:extLst>
                <a:ext uri="{FF2B5EF4-FFF2-40B4-BE49-F238E27FC236}">
                  <a16:creationId xmlns:a16="http://schemas.microsoft.com/office/drawing/2014/main" id="{6024DCE4-2A71-457A-AAD6-6F09EDFA90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28142" y="170057"/>
              <a:ext cx="170176" cy="242643"/>
            </a:xfrm>
            <a:custGeom>
              <a:avLst/>
              <a:gdLst>
                <a:gd name="T0" fmla="*/ 148 w 261"/>
                <a:gd name="T1" fmla="*/ 316 h 372"/>
                <a:gd name="T2" fmla="*/ 130 w 261"/>
                <a:gd name="T3" fmla="*/ 318 h 372"/>
                <a:gd name="T4" fmla="*/ 101 w 261"/>
                <a:gd name="T5" fmla="*/ 312 h 372"/>
                <a:gd name="T6" fmla="*/ 136 w 261"/>
                <a:gd name="T7" fmla="*/ 164 h 372"/>
                <a:gd name="T8" fmla="*/ 148 w 261"/>
                <a:gd name="T9" fmla="*/ 316 h 372"/>
                <a:gd name="T10" fmla="*/ 205 w 261"/>
                <a:gd name="T11" fmla="*/ 0 h 372"/>
                <a:gd name="T12" fmla="*/ 205 w 261"/>
                <a:gd name="T13" fmla="*/ 138 h 372"/>
                <a:gd name="T14" fmla="*/ 130 w 261"/>
                <a:gd name="T15" fmla="*/ 113 h 372"/>
                <a:gd name="T16" fmla="*/ 0 w 261"/>
                <a:gd name="T17" fmla="*/ 242 h 372"/>
                <a:gd name="T18" fmla="*/ 130 w 261"/>
                <a:gd name="T19" fmla="*/ 372 h 372"/>
                <a:gd name="T20" fmla="*/ 205 w 261"/>
                <a:gd name="T21" fmla="*/ 347 h 372"/>
                <a:gd name="T22" fmla="*/ 205 w 261"/>
                <a:gd name="T23" fmla="*/ 369 h 372"/>
                <a:gd name="T24" fmla="*/ 261 w 261"/>
                <a:gd name="T25" fmla="*/ 369 h 372"/>
                <a:gd name="T26" fmla="*/ 261 w 261"/>
                <a:gd name="T27" fmla="*/ 0 h 372"/>
                <a:gd name="T28" fmla="*/ 205 w 261"/>
                <a:gd name="T29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1" h="372">
                  <a:moveTo>
                    <a:pt x="148" y="316"/>
                  </a:moveTo>
                  <a:cubicBezTo>
                    <a:pt x="142" y="318"/>
                    <a:pt x="136" y="318"/>
                    <a:pt x="130" y="318"/>
                  </a:cubicBezTo>
                  <a:cubicBezTo>
                    <a:pt x="120" y="318"/>
                    <a:pt x="110" y="316"/>
                    <a:pt x="101" y="312"/>
                  </a:cubicBezTo>
                  <a:cubicBezTo>
                    <a:pt x="20" y="279"/>
                    <a:pt x="49" y="157"/>
                    <a:pt x="136" y="164"/>
                  </a:cubicBezTo>
                  <a:cubicBezTo>
                    <a:pt x="224" y="171"/>
                    <a:pt x="234" y="296"/>
                    <a:pt x="148" y="316"/>
                  </a:cubicBezTo>
                  <a:moveTo>
                    <a:pt x="205" y="0"/>
                  </a:moveTo>
                  <a:lnTo>
                    <a:pt x="205" y="138"/>
                  </a:lnTo>
                  <a:cubicBezTo>
                    <a:pt x="184" y="122"/>
                    <a:pt x="157" y="113"/>
                    <a:pt x="130" y="113"/>
                  </a:cubicBezTo>
                  <a:cubicBezTo>
                    <a:pt x="59" y="113"/>
                    <a:pt x="0" y="171"/>
                    <a:pt x="0" y="242"/>
                  </a:cubicBezTo>
                  <a:cubicBezTo>
                    <a:pt x="0" y="314"/>
                    <a:pt x="59" y="372"/>
                    <a:pt x="130" y="372"/>
                  </a:cubicBezTo>
                  <a:cubicBezTo>
                    <a:pt x="157" y="372"/>
                    <a:pt x="184" y="363"/>
                    <a:pt x="205" y="347"/>
                  </a:cubicBezTo>
                  <a:lnTo>
                    <a:pt x="205" y="369"/>
                  </a:lnTo>
                  <a:lnTo>
                    <a:pt x="261" y="369"/>
                  </a:lnTo>
                  <a:lnTo>
                    <a:pt x="261" y="0"/>
                  </a:lnTo>
                  <a:lnTo>
                    <a:pt x="205" y="0"/>
                  </a:lnTo>
                  <a:close/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27">
              <a:extLst>
                <a:ext uri="{FF2B5EF4-FFF2-40B4-BE49-F238E27FC236}">
                  <a16:creationId xmlns:a16="http://schemas.microsoft.com/office/drawing/2014/main" id="{552EC0ED-2CFF-4677-8DD6-D92BE86817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48195" y="170057"/>
              <a:ext cx="170176" cy="242643"/>
            </a:xfrm>
            <a:custGeom>
              <a:avLst/>
              <a:gdLst>
                <a:gd name="T0" fmla="*/ 160 w 261"/>
                <a:gd name="T1" fmla="*/ 312 h 372"/>
                <a:gd name="T2" fmla="*/ 131 w 261"/>
                <a:gd name="T3" fmla="*/ 319 h 372"/>
                <a:gd name="T4" fmla="*/ 114 w 261"/>
                <a:gd name="T5" fmla="*/ 316 h 372"/>
                <a:gd name="T6" fmla="*/ 125 w 261"/>
                <a:gd name="T7" fmla="*/ 165 h 372"/>
                <a:gd name="T8" fmla="*/ 160 w 261"/>
                <a:gd name="T9" fmla="*/ 312 h 372"/>
                <a:gd name="T10" fmla="*/ 131 w 261"/>
                <a:gd name="T11" fmla="*/ 113 h 372"/>
                <a:gd name="T12" fmla="*/ 56 w 261"/>
                <a:gd name="T13" fmla="*/ 138 h 372"/>
                <a:gd name="T14" fmla="*/ 56 w 261"/>
                <a:gd name="T15" fmla="*/ 0 h 372"/>
                <a:gd name="T16" fmla="*/ 0 w 261"/>
                <a:gd name="T17" fmla="*/ 0 h 372"/>
                <a:gd name="T18" fmla="*/ 0 w 261"/>
                <a:gd name="T19" fmla="*/ 369 h 372"/>
                <a:gd name="T20" fmla="*/ 56 w 261"/>
                <a:gd name="T21" fmla="*/ 369 h 372"/>
                <a:gd name="T22" fmla="*/ 56 w 261"/>
                <a:gd name="T23" fmla="*/ 347 h 372"/>
                <a:gd name="T24" fmla="*/ 131 w 261"/>
                <a:gd name="T25" fmla="*/ 372 h 372"/>
                <a:gd name="T26" fmla="*/ 261 w 261"/>
                <a:gd name="T27" fmla="*/ 242 h 372"/>
                <a:gd name="T28" fmla="*/ 131 w 261"/>
                <a:gd name="T29" fmla="*/ 113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1" h="372">
                  <a:moveTo>
                    <a:pt x="160" y="312"/>
                  </a:moveTo>
                  <a:cubicBezTo>
                    <a:pt x="151" y="316"/>
                    <a:pt x="141" y="319"/>
                    <a:pt x="131" y="319"/>
                  </a:cubicBezTo>
                  <a:cubicBezTo>
                    <a:pt x="125" y="318"/>
                    <a:pt x="119" y="318"/>
                    <a:pt x="114" y="316"/>
                  </a:cubicBezTo>
                  <a:cubicBezTo>
                    <a:pt x="28" y="296"/>
                    <a:pt x="38" y="172"/>
                    <a:pt x="125" y="165"/>
                  </a:cubicBezTo>
                  <a:cubicBezTo>
                    <a:pt x="212" y="158"/>
                    <a:pt x="241" y="279"/>
                    <a:pt x="160" y="312"/>
                  </a:cubicBezTo>
                  <a:close/>
                  <a:moveTo>
                    <a:pt x="131" y="113"/>
                  </a:moveTo>
                  <a:cubicBezTo>
                    <a:pt x="104" y="113"/>
                    <a:pt x="78" y="122"/>
                    <a:pt x="56" y="138"/>
                  </a:cubicBezTo>
                  <a:lnTo>
                    <a:pt x="56" y="0"/>
                  </a:lnTo>
                  <a:lnTo>
                    <a:pt x="0" y="0"/>
                  </a:lnTo>
                  <a:lnTo>
                    <a:pt x="0" y="369"/>
                  </a:lnTo>
                  <a:lnTo>
                    <a:pt x="56" y="369"/>
                  </a:lnTo>
                  <a:lnTo>
                    <a:pt x="56" y="347"/>
                  </a:lnTo>
                  <a:cubicBezTo>
                    <a:pt x="78" y="363"/>
                    <a:pt x="104" y="372"/>
                    <a:pt x="131" y="372"/>
                  </a:cubicBezTo>
                  <a:cubicBezTo>
                    <a:pt x="203" y="372"/>
                    <a:pt x="261" y="314"/>
                    <a:pt x="261" y="242"/>
                  </a:cubicBezTo>
                  <a:cubicBezTo>
                    <a:pt x="261" y="171"/>
                    <a:pt x="203" y="113"/>
                    <a:pt x="131" y="113"/>
                  </a:cubicBezTo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28">
              <a:extLst>
                <a:ext uri="{FF2B5EF4-FFF2-40B4-BE49-F238E27FC236}">
                  <a16:creationId xmlns:a16="http://schemas.microsoft.com/office/drawing/2014/main" id="{7B2B39F3-BC07-48C7-9374-9413B10DB9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48195" y="495346"/>
              <a:ext cx="762535" cy="71653"/>
            </a:xfrm>
            <a:custGeom>
              <a:avLst/>
              <a:gdLst>
                <a:gd name="T0" fmla="*/ 43 w 1170"/>
                <a:gd name="T1" fmla="*/ 53 h 110"/>
                <a:gd name="T2" fmla="*/ 48 w 1170"/>
                <a:gd name="T3" fmla="*/ 9 h 110"/>
                <a:gd name="T4" fmla="*/ 111 w 1170"/>
                <a:gd name="T5" fmla="*/ 47 h 110"/>
                <a:gd name="T6" fmla="*/ 61 w 1170"/>
                <a:gd name="T7" fmla="*/ 29 h 110"/>
                <a:gd name="T8" fmla="*/ 89 w 1170"/>
                <a:gd name="T9" fmla="*/ 41 h 110"/>
                <a:gd name="T10" fmla="*/ 149 w 1170"/>
                <a:gd name="T11" fmla="*/ 28 h 110"/>
                <a:gd name="T12" fmla="*/ 150 w 1170"/>
                <a:gd name="T13" fmla="*/ 75 h 110"/>
                <a:gd name="T14" fmla="*/ 140 w 1170"/>
                <a:gd name="T15" fmla="*/ 52 h 110"/>
                <a:gd name="T16" fmla="*/ 203 w 1170"/>
                <a:gd name="T17" fmla="*/ 35 h 110"/>
                <a:gd name="T18" fmla="*/ 187 w 1170"/>
                <a:gd name="T19" fmla="*/ 86 h 110"/>
                <a:gd name="T20" fmla="*/ 220 w 1170"/>
                <a:gd name="T21" fmla="*/ 29 h 110"/>
                <a:gd name="T22" fmla="*/ 229 w 1170"/>
                <a:gd name="T23" fmla="*/ 57 h 110"/>
                <a:gd name="T24" fmla="*/ 264 w 1170"/>
                <a:gd name="T25" fmla="*/ 91 h 110"/>
                <a:gd name="T26" fmla="*/ 279 w 1170"/>
                <a:gd name="T27" fmla="*/ 94 h 110"/>
                <a:gd name="T28" fmla="*/ 253 w 1170"/>
                <a:gd name="T29" fmla="*/ 73 h 110"/>
                <a:gd name="T30" fmla="*/ 312 w 1170"/>
                <a:gd name="T31" fmla="*/ 10 h 110"/>
                <a:gd name="T32" fmla="*/ 310 w 1170"/>
                <a:gd name="T33" fmla="*/ 41 h 110"/>
                <a:gd name="T34" fmla="*/ 372 w 1170"/>
                <a:gd name="T35" fmla="*/ 56 h 110"/>
                <a:gd name="T36" fmla="*/ 371 w 1170"/>
                <a:gd name="T37" fmla="*/ 69 h 110"/>
                <a:gd name="T38" fmla="*/ 357 w 1170"/>
                <a:gd name="T39" fmla="*/ 52 h 110"/>
                <a:gd name="T40" fmla="*/ 384 w 1170"/>
                <a:gd name="T41" fmla="*/ 79 h 110"/>
                <a:gd name="T42" fmla="*/ 500 w 1170"/>
                <a:gd name="T43" fmla="*/ 46 h 110"/>
                <a:gd name="T44" fmla="*/ 460 w 1170"/>
                <a:gd name="T45" fmla="*/ 46 h 110"/>
                <a:gd name="T46" fmla="*/ 448 w 1170"/>
                <a:gd name="T47" fmla="*/ 86 h 110"/>
                <a:gd name="T48" fmla="*/ 488 w 1170"/>
                <a:gd name="T49" fmla="*/ 86 h 110"/>
                <a:gd name="T50" fmla="*/ 577 w 1170"/>
                <a:gd name="T51" fmla="*/ 47 h 110"/>
                <a:gd name="T52" fmla="*/ 556 w 1170"/>
                <a:gd name="T53" fmla="*/ 40 h 110"/>
                <a:gd name="T54" fmla="*/ 548 w 1170"/>
                <a:gd name="T55" fmla="*/ 87 h 110"/>
                <a:gd name="T56" fmla="*/ 552 w 1170"/>
                <a:gd name="T57" fmla="*/ 76 h 110"/>
                <a:gd name="T58" fmla="*/ 632 w 1170"/>
                <a:gd name="T59" fmla="*/ 69 h 110"/>
                <a:gd name="T60" fmla="*/ 629 w 1170"/>
                <a:gd name="T61" fmla="*/ 31 h 110"/>
                <a:gd name="T62" fmla="*/ 611 w 1170"/>
                <a:gd name="T63" fmla="*/ 75 h 110"/>
                <a:gd name="T64" fmla="*/ 684 w 1170"/>
                <a:gd name="T65" fmla="*/ 69 h 110"/>
                <a:gd name="T66" fmla="*/ 680 w 1170"/>
                <a:gd name="T67" fmla="*/ 31 h 110"/>
                <a:gd name="T68" fmla="*/ 663 w 1170"/>
                <a:gd name="T69" fmla="*/ 75 h 110"/>
                <a:gd name="T70" fmla="*/ 743 w 1170"/>
                <a:gd name="T71" fmla="*/ 56 h 110"/>
                <a:gd name="T72" fmla="*/ 741 w 1170"/>
                <a:gd name="T73" fmla="*/ 70 h 110"/>
                <a:gd name="T74" fmla="*/ 727 w 1170"/>
                <a:gd name="T75" fmla="*/ 52 h 110"/>
                <a:gd name="T76" fmla="*/ 783 w 1170"/>
                <a:gd name="T77" fmla="*/ 28 h 110"/>
                <a:gd name="T78" fmla="*/ 756 w 1170"/>
                <a:gd name="T79" fmla="*/ 43 h 110"/>
                <a:gd name="T80" fmla="*/ 789 w 1170"/>
                <a:gd name="T81" fmla="*/ 41 h 110"/>
                <a:gd name="T82" fmla="*/ 805 w 1170"/>
                <a:gd name="T83" fmla="*/ 79 h 110"/>
                <a:gd name="T84" fmla="*/ 843 w 1170"/>
                <a:gd name="T85" fmla="*/ 9 h 110"/>
                <a:gd name="T86" fmla="*/ 900 w 1170"/>
                <a:gd name="T87" fmla="*/ 58 h 110"/>
                <a:gd name="T88" fmla="*/ 916 w 1170"/>
                <a:gd name="T89" fmla="*/ 61 h 110"/>
                <a:gd name="T90" fmla="*/ 924 w 1170"/>
                <a:gd name="T91" fmla="*/ 39 h 110"/>
                <a:gd name="T92" fmla="*/ 978 w 1170"/>
                <a:gd name="T93" fmla="*/ 28 h 110"/>
                <a:gd name="T94" fmla="*/ 977 w 1170"/>
                <a:gd name="T95" fmla="*/ 86 h 110"/>
                <a:gd name="T96" fmla="*/ 990 w 1170"/>
                <a:gd name="T97" fmla="*/ 75 h 110"/>
                <a:gd name="T98" fmla="*/ 1075 w 1170"/>
                <a:gd name="T99" fmla="*/ 56 h 110"/>
                <a:gd name="T100" fmla="*/ 1073 w 1170"/>
                <a:gd name="T101" fmla="*/ 70 h 110"/>
                <a:gd name="T102" fmla="*/ 1060 w 1170"/>
                <a:gd name="T103" fmla="*/ 52 h 110"/>
                <a:gd name="T104" fmla="*/ 1138 w 1170"/>
                <a:gd name="T105" fmla="*/ 47 h 110"/>
                <a:gd name="T106" fmla="*/ 1088 w 1170"/>
                <a:gd name="T107" fmla="*/ 29 h 110"/>
                <a:gd name="T108" fmla="*/ 1116 w 1170"/>
                <a:gd name="T109" fmla="*/ 41 h 110"/>
                <a:gd name="T110" fmla="*/ 1160 w 1170"/>
                <a:gd name="T111" fmla="*/ 7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0" h="110">
                  <a:moveTo>
                    <a:pt x="49" y="86"/>
                  </a:moveTo>
                  <a:lnTo>
                    <a:pt x="49" y="72"/>
                  </a:lnTo>
                  <a:lnTo>
                    <a:pt x="16" y="72"/>
                  </a:lnTo>
                  <a:lnTo>
                    <a:pt x="16" y="53"/>
                  </a:lnTo>
                  <a:lnTo>
                    <a:pt x="43" y="53"/>
                  </a:lnTo>
                  <a:lnTo>
                    <a:pt x="43" y="39"/>
                  </a:lnTo>
                  <a:lnTo>
                    <a:pt x="16" y="39"/>
                  </a:lnTo>
                  <a:lnTo>
                    <a:pt x="16" y="22"/>
                  </a:lnTo>
                  <a:lnTo>
                    <a:pt x="47" y="22"/>
                  </a:lnTo>
                  <a:lnTo>
                    <a:pt x="48" y="9"/>
                  </a:lnTo>
                  <a:lnTo>
                    <a:pt x="0" y="9"/>
                  </a:lnTo>
                  <a:lnTo>
                    <a:pt x="0" y="86"/>
                  </a:lnTo>
                  <a:lnTo>
                    <a:pt x="49" y="86"/>
                  </a:lnTo>
                  <a:close/>
                  <a:moveTo>
                    <a:pt x="111" y="86"/>
                  </a:moveTo>
                  <a:lnTo>
                    <a:pt x="111" y="47"/>
                  </a:lnTo>
                  <a:cubicBezTo>
                    <a:pt x="111" y="42"/>
                    <a:pt x="110" y="38"/>
                    <a:pt x="108" y="34"/>
                  </a:cubicBezTo>
                  <a:cubicBezTo>
                    <a:pt x="105" y="30"/>
                    <a:pt x="100" y="27"/>
                    <a:pt x="94" y="28"/>
                  </a:cubicBezTo>
                  <a:cubicBezTo>
                    <a:pt x="88" y="29"/>
                    <a:pt x="81" y="32"/>
                    <a:pt x="76" y="37"/>
                  </a:cubicBezTo>
                  <a:cubicBezTo>
                    <a:pt x="76" y="34"/>
                    <a:pt x="76" y="32"/>
                    <a:pt x="75" y="29"/>
                  </a:cubicBezTo>
                  <a:lnTo>
                    <a:pt x="61" y="29"/>
                  </a:lnTo>
                  <a:cubicBezTo>
                    <a:pt x="61" y="29"/>
                    <a:pt x="62" y="36"/>
                    <a:pt x="62" y="43"/>
                  </a:cubicBezTo>
                  <a:lnTo>
                    <a:pt x="62" y="86"/>
                  </a:lnTo>
                  <a:lnTo>
                    <a:pt x="77" y="86"/>
                  </a:lnTo>
                  <a:lnTo>
                    <a:pt x="77" y="47"/>
                  </a:lnTo>
                  <a:cubicBezTo>
                    <a:pt x="80" y="44"/>
                    <a:pt x="84" y="42"/>
                    <a:pt x="89" y="41"/>
                  </a:cubicBezTo>
                  <a:cubicBezTo>
                    <a:pt x="93" y="41"/>
                    <a:pt x="96" y="42"/>
                    <a:pt x="96" y="48"/>
                  </a:cubicBezTo>
                  <a:lnTo>
                    <a:pt x="96" y="86"/>
                  </a:lnTo>
                  <a:lnTo>
                    <a:pt x="111" y="86"/>
                  </a:lnTo>
                  <a:close/>
                  <a:moveTo>
                    <a:pt x="173" y="56"/>
                  </a:moveTo>
                  <a:cubicBezTo>
                    <a:pt x="173" y="43"/>
                    <a:pt x="168" y="28"/>
                    <a:pt x="149" y="28"/>
                  </a:cubicBezTo>
                  <a:cubicBezTo>
                    <a:pt x="132" y="28"/>
                    <a:pt x="124" y="42"/>
                    <a:pt x="124" y="58"/>
                  </a:cubicBezTo>
                  <a:cubicBezTo>
                    <a:pt x="124" y="68"/>
                    <a:pt x="127" y="87"/>
                    <a:pt x="148" y="87"/>
                  </a:cubicBezTo>
                  <a:cubicBezTo>
                    <a:pt x="156" y="87"/>
                    <a:pt x="165" y="85"/>
                    <a:pt x="172" y="81"/>
                  </a:cubicBezTo>
                  <a:lnTo>
                    <a:pt x="172" y="70"/>
                  </a:lnTo>
                  <a:cubicBezTo>
                    <a:pt x="165" y="73"/>
                    <a:pt x="158" y="75"/>
                    <a:pt x="150" y="75"/>
                  </a:cubicBezTo>
                  <a:cubicBezTo>
                    <a:pt x="144" y="75"/>
                    <a:pt x="140" y="71"/>
                    <a:pt x="140" y="61"/>
                  </a:cubicBezTo>
                  <a:lnTo>
                    <a:pt x="173" y="61"/>
                  </a:lnTo>
                  <a:cubicBezTo>
                    <a:pt x="173" y="61"/>
                    <a:pt x="173" y="57"/>
                    <a:pt x="173" y="56"/>
                  </a:cubicBezTo>
                  <a:moveTo>
                    <a:pt x="158" y="52"/>
                  </a:moveTo>
                  <a:lnTo>
                    <a:pt x="140" y="52"/>
                  </a:lnTo>
                  <a:cubicBezTo>
                    <a:pt x="140" y="47"/>
                    <a:pt x="142" y="39"/>
                    <a:pt x="149" y="39"/>
                  </a:cubicBezTo>
                  <a:cubicBezTo>
                    <a:pt x="157" y="39"/>
                    <a:pt x="158" y="47"/>
                    <a:pt x="158" y="52"/>
                  </a:cubicBezTo>
                  <a:moveTo>
                    <a:pt x="220" y="29"/>
                  </a:moveTo>
                  <a:cubicBezTo>
                    <a:pt x="220" y="29"/>
                    <a:pt x="220" y="28"/>
                    <a:pt x="214" y="28"/>
                  </a:cubicBezTo>
                  <a:cubicBezTo>
                    <a:pt x="209" y="29"/>
                    <a:pt x="205" y="31"/>
                    <a:pt x="203" y="35"/>
                  </a:cubicBezTo>
                  <a:cubicBezTo>
                    <a:pt x="202" y="35"/>
                    <a:pt x="202" y="35"/>
                    <a:pt x="202" y="36"/>
                  </a:cubicBezTo>
                  <a:cubicBezTo>
                    <a:pt x="202" y="33"/>
                    <a:pt x="201" y="31"/>
                    <a:pt x="201" y="29"/>
                  </a:cubicBezTo>
                  <a:lnTo>
                    <a:pt x="186" y="29"/>
                  </a:lnTo>
                  <a:cubicBezTo>
                    <a:pt x="187" y="34"/>
                    <a:pt x="187" y="38"/>
                    <a:pt x="187" y="43"/>
                  </a:cubicBezTo>
                  <a:lnTo>
                    <a:pt x="187" y="86"/>
                  </a:lnTo>
                  <a:lnTo>
                    <a:pt x="202" y="86"/>
                  </a:lnTo>
                  <a:lnTo>
                    <a:pt x="202" y="46"/>
                  </a:lnTo>
                  <a:cubicBezTo>
                    <a:pt x="205" y="43"/>
                    <a:pt x="208" y="41"/>
                    <a:pt x="212" y="41"/>
                  </a:cubicBezTo>
                  <a:cubicBezTo>
                    <a:pt x="214" y="41"/>
                    <a:pt x="217" y="41"/>
                    <a:pt x="219" y="41"/>
                  </a:cubicBezTo>
                  <a:lnTo>
                    <a:pt x="220" y="29"/>
                  </a:lnTo>
                  <a:close/>
                  <a:moveTo>
                    <a:pt x="281" y="29"/>
                  </a:moveTo>
                  <a:lnTo>
                    <a:pt x="266" y="29"/>
                  </a:lnTo>
                  <a:cubicBezTo>
                    <a:pt x="266" y="30"/>
                    <a:pt x="266" y="31"/>
                    <a:pt x="266" y="33"/>
                  </a:cubicBezTo>
                  <a:cubicBezTo>
                    <a:pt x="262" y="30"/>
                    <a:pt x="257" y="28"/>
                    <a:pt x="252" y="28"/>
                  </a:cubicBezTo>
                  <a:cubicBezTo>
                    <a:pt x="236" y="28"/>
                    <a:pt x="229" y="40"/>
                    <a:pt x="229" y="57"/>
                  </a:cubicBezTo>
                  <a:cubicBezTo>
                    <a:pt x="229" y="68"/>
                    <a:pt x="232" y="86"/>
                    <a:pt x="249" y="86"/>
                  </a:cubicBezTo>
                  <a:cubicBezTo>
                    <a:pt x="255" y="86"/>
                    <a:pt x="261" y="83"/>
                    <a:pt x="265" y="78"/>
                  </a:cubicBezTo>
                  <a:cubicBezTo>
                    <a:pt x="265" y="78"/>
                    <a:pt x="265" y="82"/>
                    <a:pt x="265" y="83"/>
                  </a:cubicBezTo>
                  <a:lnTo>
                    <a:pt x="265" y="87"/>
                  </a:lnTo>
                  <a:cubicBezTo>
                    <a:pt x="265" y="88"/>
                    <a:pt x="264" y="90"/>
                    <a:pt x="264" y="91"/>
                  </a:cubicBezTo>
                  <a:cubicBezTo>
                    <a:pt x="263" y="95"/>
                    <a:pt x="260" y="97"/>
                    <a:pt x="254" y="97"/>
                  </a:cubicBezTo>
                  <a:cubicBezTo>
                    <a:pt x="246" y="97"/>
                    <a:pt x="239" y="95"/>
                    <a:pt x="232" y="92"/>
                  </a:cubicBezTo>
                  <a:lnTo>
                    <a:pt x="231" y="106"/>
                  </a:lnTo>
                  <a:cubicBezTo>
                    <a:pt x="238" y="109"/>
                    <a:pt x="246" y="110"/>
                    <a:pt x="254" y="110"/>
                  </a:cubicBezTo>
                  <a:cubicBezTo>
                    <a:pt x="268" y="110"/>
                    <a:pt x="277" y="105"/>
                    <a:pt x="279" y="94"/>
                  </a:cubicBezTo>
                  <a:cubicBezTo>
                    <a:pt x="280" y="91"/>
                    <a:pt x="280" y="88"/>
                    <a:pt x="280" y="85"/>
                  </a:cubicBezTo>
                  <a:lnTo>
                    <a:pt x="280" y="43"/>
                  </a:lnTo>
                  <a:cubicBezTo>
                    <a:pt x="280" y="36"/>
                    <a:pt x="281" y="29"/>
                    <a:pt x="281" y="29"/>
                  </a:cubicBezTo>
                  <a:moveTo>
                    <a:pt x="265" y="67"/>
                  </a:moveTo>
                  <a:cubicBezTo>
                    <a:pt x="262" y="71"/>
                    <a:pt x="258" y="73"/>
                    <a:pt x="253" y="73"/>
                  </a:cubicBezTo>
                  <a:cubicBezTo>
                    <a:pt x="246" y="73"/>
                    <a:pt x="244" y="63"/>
                    <a:pt x="244" y="57"/>
                  </a:cubicBezTo>
                  <a:cubicBezTo>
                    <a:pt x="244" y="51"/>
                    <a:pt x="245" y="40"/>
                    <a:pt x="254" y="40"/>
                  </a:cubicBezTo>
                  <a:cubicBezTo>
                    <a:pt x="258" y="40"/>
                    <a:pt x="261" y="41"/>
                    <a:pt x="265" y="43"/>
                  </a:cubicBezTo>
                  <a:lnTo>
                    <a:pt x="265" y="67"/>
                  </a:lnTo>
                  <a:close/>
                  <a:moveTo>
                    <a:pt x="312" y="10"/>
                  </a:moveTo>
                  <a:cubicBezTo>
                    <a:pt x="312" y="5"/>
                    <a:pt x="308" y="0"/>
                    <a:pt x="302" y="0"/>
                  </a:cubicBezTo>
                  <a:cubicBezTo>
                    <a:pt x="290" y="0"/>
                    <a:pt x="290" y="19"/>
                    <a:pt x="302" y="19"/>
                  </a:cubicBezTo>
                  <a:cubicBezTo>
                    <a:pt x="307" y="19"/>
                    <a:pt x="312" y="15"/>
                    <a:pt x="312" y="10"/>
                  </a:cubicBezTo>
                  <a:close/>
                  <a:moveTo>
                    <a:pt x="310" y="86"/>
                  </a:moveTo>
                  <a:lnTo>
                    <a:pt x="310" y="41"/>
                  </a:lnTo>
                  <a:cubicBezTo>
                    <a:pt x="310" y="37"/>
                    <a:pt x="310" y="33"/>
                    <a:pt x="309" y="29"/>
                  </a:cubicBezTo>
                  <a:lnTo>
                    <a:pt x="295" y="29"/>
                  </a:lnTo>
                  <a:lnTo>
                    <a:pt x="295" y="86"/>
                  </a:lnTo>
                  <a:lnTo>
                    <a:pt x="310" y="86"/>
                  </a:lnTo>
                  <a:close/>
                  <a:moveTo>
                    <a:pt x="372" y="56"/>
                  </a:moveTo>
                  <a:cubicBezTo>
                    <a:pt x="372" y="43"/>
                    <a:pt x="367" y="28"/>
                    <a:pt x="348" y="28"/>
                  </a:cubicBezTo>
                  <a:cubicBezTo>
                    <a:pt x="331" y="28"/>
                    <a:pt x="323" y="42"/>
                    <a:pt x="323" y="58"/>
                  </a:cubicBezTo>
                  <a:cubicBezTo>
                    <a:pt x="323" y="68"/>
                    <a:pt x="326" y="87"/>
                    <a:pt x="347" y="87"/>
                  </a:cubicBezTo>
                  <a:cubicBezTo>
                    <a:pt x="355" y="87"/>
                    <a:pt x="364" y="85"/>
                    <a:pt x="371" y="81"/>
                  </a:cubicBezTo>
                  <a:lnTo>
                    <a:pt x="371" y="69"/>
                  </a:lnTo>
                  <a:cubicBezTo>
                    <a:pt x="364" y="73"/>
                    <a:pt x="357" y="75"/>
                    <a:pt x="349" y="75"/>
                  </a:cubicBezTo>
                  <a:cubicBezTo>
                    <a:pt x="342" y="75"/>
                    <a:pt x="339" y="71"/>
                    <a:pt x="339" y="61"/>
                  </a:cubicBezTo>
                  <a:lnTo>
                    <a:pt x="372" y="61"/>
                  </a:lnTo>
                  <a:cubicBezTo>
                    <a:pt x="372" y="61"/>
                    <a:pt x="372" y="57"/>
                    <a:pt x="372" y="56"/>
                  </a:cubicBezTo>
                  <a:moveTo>
                    <a:pt x="357" y="52"/>
                  </a:moveTo>
                  <a:lnTo>
                    <a:pt x="339" y="52"/>
                  </a:lnTo>
                  <a:cubicBezTo>
                    <a:pt x="339" y="47"/>
                    <a:pt x="341" y="39"/>
                    <a:pt x="348" y="39"/>
                  </a:cubicBezTo>
                  <a:cubicBezTo>
                    <a:pt x="356" y="39"/>
                    <a:pt x="357" y="47"/>
                    <a:pt x="357" y="52"/>
                  </a:cubicBezTo>
                  <a:moveTo>
                    <a:pt x="403" y="79"/>
                  </a:moveTo>
                  <a:cubicBezTo>
                    <a:pt x="402" y="67"/>
                    <a:pt x="385" y="67"/>
                    <a:pt x="384" y="79"/>
                  </a:cubicBezTo>
                  <a:cubicBezTo>
                    <a:pt x="384" y="84"/>
                    <a:pt x="388" y="88"/>
                    <a:pt x="394" y="87"/>
                  </a:cubicBezTo>
                  <a:cubicBezTo>
                    <a:pt x="399" y="88"/>
                    <a:pt x="403" y="84"/>
                    <a:pt x="403" y="79"/>
                  </a:cubicBezTo>
                  <a:close/>
                  <a:moveTo>
                    <a:pt x="525" y="10"/>
                  </a:moveTo>
                  <a:lnTo>
                    <a:pt x="509" y="9"/>
                  </a:lnTo>
                  <a:lnTo>
                    <a:pt x="500" y="46"/>
                  </a:lnTo>
                  <a:cubicBezTo>
                    <a:pt x="499" y="52"/>
                    <a:pt x="497" y="63"/>
                    <a:pt x="497" y="65"/>
                  </a:cubicBezTo>
                  <a:cubicBezTo>
                    <a:pt x="496" y="63"/>
                    <a:pt x="494" y="52"/>
                    <a:pt x="493" y="46"/>
                  </a:cubicBezTo>
                  <a:lnTo>
                    <a:pt x="485" y="9"/>
                  </a:lnTo>
                  <a:lnTo>
                    <a:pt x="468" y="9"/>
                  </a:lnTo>
                  <a:lnTo>
                    <a:pt x="460" y="46"/>
                  </a:lnTo>
                  <a:cubicBezTo>
                    <a:pt x="458" y="52"/>
                    <a:pt x="457" y="62"/>
                    <a:pt x="456" y="65"/>
                  </a:cubicBezTo>
                  <a:cubicBezTo>
                    <a:pt x="456" y="62"/>
                    <a:pt x="454" y="52"/>
                    <a:pt x="453" y="46"/>
                  </a:cubicBezTo>
                  <a:lnTo>
                    <a:pt x="444" y="8"/>
                  </a:lnTo>
                  <a:lnTo>
                    <a:pt x="427" y="9"/>
                  </a:lnTo>
                  <a:lnTo>
                    <a:pt x="448" y="86"/>
                  </a:lnTo>
                  <a:lnTo>
                    <a:pt x="464" y="86"/>
                  </a:lnTo>
                  <a:lnTo>
                    <a:pt x="472" y="51"/>
                  </a:lnTo>
                  <a:cubicBezTo>
                    <a:pt x="473" y="45"/>
                    <a:pt x="476" y="31"/>
                    <a:pt x="476" y="31"/>
                  </a:cubicBezTo>
                  <a:cubicBezTo>
                    <a:pt x="476" y="31"/>
                    <a:pt x="479" y="45"/>
                    <a:pt x="480" y="51"/>
                  </a:cubicBezTo>
                  <a:lnTo>
                    <a:pt x="488" y="86"/>
                  </a:lnTo>
                  <a:lnTo>
                    <a:pt x="505" y="86"/>
                  </a:lnTo>
                  <a:lnTo>
                    <a:pt x="525" y="10"/>
                  </a:lnTo>
                  <a:close/>
                  <a:moveTo>
                    <a:pt x="578" y="86"/>
                  </a:moveTo>
                  <a:cubicBezTo>
                    <a:pt x="578" y="82"/>
                    <a:pt x="577" y="78"/>
                    <a:pt x="577" y="74"/>
                  </a:cubicBezTo>
                  <a:lnTo>
                    <a:pt x="577" y="47"/>
                  </a:lnTo>
                  <a:cubicBezTo>
                    <a:pt x="578" y="42"/>
                    <a:pt x="577" y="37"/>
                    <a:pt x="574" y="33"/>
                  </a:cubicBezTo>
                  <a:cubicBezTo>
                    <a:pt x="570" y="29"/>
                    <a:pt x="564" y="27"/>
                    <a:pt x="559" y="28"/>
                  </a:cubicBezTo>
                  <a:cubicBezTo>
                    <a:pt x="551" y="28"/>
                    <a:pt x="543" y="30"/>
                    <a:pt x="535" y="33"/>
                  </a:cubicBezTo>
                  <a:lnTo>
                    <a:pt x="536" y="45"/>
                  </a:lnTo>
                  <a:cubicBezTo>
                    <a:pt x="542" y="42"/>
                    <a:pt x="549" y="40"/>
                    <a:pt x="556" y="40"/>
                  </a:cubicBezTo>
                  <a:cubicBezTo>
                    <a:pt x="561" y="40"/>
                    <a:pt x="562" y="42"/>
                    <a:pt x="562" y="46"/>
                  </a:cubicBezTo>
                  <a:lnTo>
                    <a:pt x="562" y="52"/>
                  </a:lnTo>
                  <a:cubicBezTo>
                    <a:pt x="553" y="52"/>
                    <a:pt x="545" y="54"/>
                    <a:pt x="537" y="58"/>
                  </a:cubicBezTo>
                  <a:cubicBezTo>
                    <a:pt x="533" y="61"/>
                    <a:pt x="531" y="65"/>
                    <a:pt x="532" y="70"/>
                  </a:cubicBezTo>
                  <a:cubicBezTo>
                    <a:pt x="531" y="79"/>
                    <a:pt x="538" y="87"/>
                    <a:pt x="548" y="87"/>
                  </a:cubicBezTo>
                  <a:cubicBezTo>
                    <a:pt x="553" y="87"/>
                    <a:pt x="559" y="84"/>
                    <a:pt x="563" y="81"/>
                  </a:cubicBezTo>
                  <a:cubicBezTo>
                    <a:pt x="563" y="82"/>
                    <a:pt x="563" y="84"/>
                    <a:pt x="564" y="86"/>
                  </a:cubicBezTo>
                  <a:lnTo>
                    <a:pt x="578" y="86"/>
                  </a:lnTo>
                  <a:close/>
                  <a:moveTo>
                    <a:pt x="562" y="71"/>
                  </a:moveTo>
                  <a:cubicBezTo>
                    <a:pt x="559" y="74"/>
                    <a:pt x="556" y="75"/>
                    <a:pt x="552" y="76"/>
                  </a:cubicBezTo>
                  <a:cubicBezTo>
                    <a:pt x="548" y="76"/>
                    <a:pt x="547" y="72"/>
                    <a:pt x="547" y="69"/>
                  </a:cubicBezTo>
                  <a:cubicBezTo>
                    <a:pt x="547" y="67"/>
                    <a:pt x="547" y="65"/>
                    <a:pt x="549" y="64"/>
                  </a:cubicBezTo>
                  <a:cubicBezTo>
                    <a:pt x="553" y="62"/>
                    <a:pt x="557" y="60"/>
                    <a:pt x="562" y="61"/>
                  </a:cubicBezTo>
                  <a:lnTo>
                    <a:pt x="562" y="71"/>
                  </a:lnTo>
                  <a:close/>
                  <a:moveTo>
                    <a:pt x="632" y="69"/>
                  </a:moveTo>
                  <a:cubicBezTo>
                    <a:pt x="632" y="55"/>
                    <a:pt x="619" y="53"/>
                    <a:pt x="610" y="49"/>
                  </a:cubicBezTo>
                  <a:cubicBezTo>
                    <a:pt x="608" y="48"/>
                    <a:pt x="606" y="47"/>
                    <a:pt x="606" y="44"/>
                  </a:cubicBezTo>
                  <a:cubicBezTo>
                    <a:pt x="606" y="42"/>
                    <a:pt x="607" y="40"/>
                    <a:pt x="611" y="40"/>
                  </a:cubicBezTo>
                  <a:cubicBezTo>
                    <a:pt x="617" y="40"/>
                    <a:pt x="623" y="41"/>
                    <a:pt x="628" y="44"/>
                  </a:cubicBezTo>
                  <a:lnTo>
                    <a:pt x="629" y="31"/>
                  </a:lnTo>
                  <a:cubicBezTo>
                    <a:pt x="623" y="29"/>
                    <a:pt x="618" y="28"/>
                    <a:pt x="612" y="28"/>
                  </a:cubicBezTo>
                  <a:cubicBezTo>
                    <a:pt x="601" y="27"/>
                    <a:pt x="591" y="35"/>
                    <a:pt x="591" y="46"/>
                  </a:cubicBezTo>
                  <a:cubicBezTo>
                    <a:pt x="591" y="58"/>
                    <a:pt x="604" y="61"/>
                    <a:pt x="612" y="65"/>
                  </a:cubicBezTo>
                  <a:cubicBezTo>
                    <a:pt x="615" y="66"/>
                    <a:pt x="617" y="67"/>
                    <a:pt x="617" y="70"/>
                  </a:cubicBezTo>
                  <a:cubicBezTo>
                    <a:pt x="617" y="73"/>
                    <a:pt x="615" y="75"/>
                    <a:pt x="611" y="75"/>
                  </a:cubicBezTo>
                  <a:cubicBezTo>
                    <a:pt x="604" y="74"/>
                    <a:pt x="597" y="72"/>
                    <a:pt x="591" y="69"/>
                  </a:cubicBezTo>
                  <a:lnTo>
                    <a:pt x="590" y="83"/>
                  </a:lnTo>
                  <a:cubicBezTo>
                    <a:pt x="597" y="86"/>
                    <a:pt x="604" y="87"/>
                    <a:pt x="611" y="88"/>
                  </a:cubicBezTo>
                  <a:cubicBezTo>
                    <a:pt x="622" y="89"/>
                    <a:pt x="632" y="80"/>
                    <a:pt x="632" y="69"/>
                  </a:cubicBezTo>
                  <a:moveTo>
                    <a:pt x="684" y="69"/>
                  </a:moveTo>
                  <a:cubicBezTo>
                    <a:pt x="684" y="55"/>
                    <a:pt x="671" y="53"/>
                    <a:pt x="661" y="49"/>
                  </a:cubicBezTo>
                  <a:cubicBezTo>
                    <a:pt x="659" y="48"/>
                    <a:pt x="657" y="47"/>
                    <a:pt x="657" y="45"/>
                  </a:cubicBezTo>
                  <a:cubicBezTo>
                    <a:pt x="657" y="43"/>
                    <a:pt x="659" y="40"/>
                    <a:pt x="663" y="40"/>
                  </a:cubicBezTo>
                  <a:cubicBezTo>
                    <a:pt x="669" y="40"/>
                    <a:pt x="674" y="42"/>
                    <a:pt x="680" y="44"/>
                  </a:cubicBezTo>
                  <a:lnTo>
                    <a:pt x="680" y="31"/>
                  </a:lnTo>
                  <a:cubicBezTo>
                    <a:pt x="675" y="29"/>
                    <a:pt x="669" y="28"/>
                    <a:pt x="663" y="28"/>
                  </a:cubicBezTo>
                  <a:cubicBezTo>
                    <a:pt x="652" y="27"/>
                    <a:pt x="643" y="35"/>
                    <a:pt x="642" y="46"/>
                  </a:cubicBezTo>
                  <a:cubicBezTo>
                    <a:pt x="642" y="58"/>
                    <a:pt x="655" y="61"/>
                    <a:pt x="664" y="65"/>
                  </a:cubicBezTo>
                  <a:cubicBezTo>
                    <a:pt x="667" y="66"/>
                    <a:pt x="669" y="67"/>
                    <a:pt x="669" y="70"/>
                  </a:cubicBezTo>
                  <a:cubicBezTo>
                    <a:pt x="669" y="73"/>
                    <a:pt x="666" y="75"/>
                    <a:pt x="663" y="75"/>
                  </a:cubicBezTo>
                  <a:cubicBezTo>
                    <a:pt x="656" y="74"/>
                    <a:pt x="649" y="72"/>
                    <a:pt x="643" y="69"/>
                  </a:cubicBezTo>
                  <a:lnTo>
                    <a:pt x="642" y="83"/>
                  </a:lnTo>
                  <a:cubicBezTo>
                    <a:pt x="648" y="86"/>
                    <a:pt x="655" y="87"/>
                    <a:pt x="662" y="88"/>
                  </a:cubicBezTo>
                  <a:cubicBezTo>
                    <a:pt x="673" y="89"/>
                    <a:pt x="683" y="80"/>
                    <a:pt x="684" y="69"/>
                  </a:cubicBezTo>
                  <a:moveTo>
                    <a:pt x="743" y="56"/>
                  </a:moveTo>
                  <a:cubicBezTo>
                    <a:pt x="743" y="43"/>
                    <a:pt x="737" y="28"/>
                    <a:pt x="718" y="28"/>
                  </a:cubicBezTo>
                  <a:cubicBezTo>
                    <a:pt x="701" y="28"/>
                    <a:pt x="693" y="43"/>
                    <a:pt x="693" y="58"/>
                  </a:cubicBezTo>
                  <a:cubicBezTo>
                    <a:pt x="693" y="68"/>
                    <a:pt x="697" y="87"/>
                    <a:pt x="717" y="87"/>
                  </a:cubicBezTo>
                  <a:cubicBezTo>
                    <a:pt x="726" y="88"/>
                    <a:pt x="734" y="86"/>
                    <a:pt x="742" y="81"/>
                  </a:cubicBezTo>
                  <a:lnTo>
                    <a:pt x="741" y="70"/>
                  </a:lnTo>
                  <a:cubicBezTo>
                    <a:pt x="734" y="73"/>
                    <a:pt x="727" y="75"/>
                    <a:pt x="720" y="76"/>
                  </a:cubicBezTo>
                  <a:cubicBezTo>
                    <a:pt x="713" y="76"/>
                    <a:pt x="709" y="71"/>
                    <a:pt x="709" y="61"/>
                  </a:cubicBezTo>
                  <a:lnTo>
                    <a:pt x="742" y="61"/>
                  </a:lnTo>
                  <a:cubicBezTo>
                    <a:pt x="742" y="61"/>
                    <a:pt x="743" y="57"/>
                    <a:pt x="743" y="56"/>
                  </a:cubicBezTo>
                  <a:moveTo>
                    <a:pt x="727" y="52"/>
                  </a:moveTo>
                  <a:lnTo>
                    <a:pt x="710" y="52"/>
                  </a:lnTo>
                  <a:cubicBezTo>
                    <a:pt x="710" y="47"/>
                    <a:pt x="711" y="39"/>
                    <a:pt x="718" y="39"/>
                  </a:cubicBezTo>
                  <a:cubicBezTo>
                    <a:pt x="726" y="39"/>
                    <a:pt x="727" y="47"/>
                    <a:pt x="727" y="52"/>
                  </a:cubicBezTo>
                  <a:close/>
                  <a:moveTo>
                    <a:pt x="790" y="29"/>
                  </a:moveTo>
                  <a:cubicBezTo>
                    <a:pt x="790" y="29"/>
                    <a:pt x="789" y="28"/>
                    <a:pt x="783" y="28"/>
                  </a:cubicBezTo>
                  <a:cubicBezTo>
                    <a:pt x="779" y="29"/>
                    <a:pt x="775" y="31"/>
                    <a:pt x="772" y="35"/>
                  </a:cubicBezTo>
                  <a:cubicBezTo>
                    <a:pt x="772" y="35"/>
                    <a:pt x="771" y="35"/>
                    <a:pt x="771" y="36"/>
                  </a:cubicBezTo>
                  <a:cubicBezTo>
                    <a:pt x="771" y="34"/>
                    <a:pt x="771" y="31"/>
                    <a:pt x="770" y="29"/>
                  </a:cubicBezTo>
                  <a:lnTo>
                    <a:pt x="756" y="29"/>
                  </a:lnTo>
                  <a:cubicBezTo>
                    <a:pt x="756" y="34"/>
                    <a:pt x="756" y="38"/>
                    <a:pt x="756" y="43"/>
                  </a:cubicBezTo>
                  <a:lnTo>
                    <a:pt x="756" y="86"/>
                  </a:lnTo>
                  <a:lnTo>
                    <a:pt x="772" y="86"/>
                  </a:lnTo>
                  <a:lnTo>
                    <a:pt x="772" y="46"/>
                  </a:lnTo>
                  <a:cubicBezTo>
                    <a:pt x="774" y="43"/>
                    <a:pt x="777" y="42"/>
                    <a:pt x="781" y="41"/>
                  </a:cubicBezTo>
                  <a:cubicBezTo>
                    <a:pt x="784" y="41"/>
                    <a:pt x="786" y="41"/>
                    <a:pt x="789" y="41"/>
                  </a:cubicBezTo>
                  <a:lnTo>
                    <a:pt x="790" y="29"/>
                  </a:lnTo>
                  <a:close/>
                  <a:moveTo>
                    <a:pt x="805" y="79"/>
                  </a:moveTo>
                  <a:cubicBezTo>
                    <a:pt x="804" y="67"/>
                    <a:pt x="787" y="67"/>
                    <a:pt x="786" y="79"/>
                  </a:cubicBezTo>
                  <a:cubicBezTo>
                    <a:pt x="786" y="84"/>
                    <a:pt x="790" y="88"/>
                    <a:pt x="796" y="88"/>
                  </a:cubicBezTo>
                  <a:cubicBezTo>
                    <a:pt x="801" y="88"/>
                    <a:pt x="805" y="84"/>
                    <a:pt x="805" y="79"/>
                  </a:cubicBezTo>
                  <a:moveTo>
                    <a:pt x="891" y="86"/>
                  </a:moveTo>
                  <a:lnTo>
                    <a:pt x="891" y="72"/>
                  </a:lnTo>
                  <a:lnTo>
                    <a:pt x="859" y="72"/>
                  </a:lnTo>
                  <a:lnTo>
                    <a:pt x="859" y="9"/>
                  </a:lnTo>
                  <a:lnTo>
                    <a:pt x="843" y="9"/>
                  </a:lnTo>
                  <a:lnTo>
                    <a:pt x="843" y="86"/>
                  </a:lnTo>
                  <a:lnTo>
                    <a:pt x="891" y="86"/>
                  </a:lnTo>
                  <a:close/>
                  <a:moveTo>
                    <a:pt x="949" y="56"/>
                  </a:moveTo>
                  <a:cubicBezTo>
                    <a:pt x="949" y="43"/>
                    <a:pt x="944" y="28"/>
                    <a:pt x="924" y="28"/>
                  </a:cubicBezTo>
                  <a:cubicBezTo>
                    <a:pt x="907" y="28"/>
                    <a:pt x="900" y="43"/>
                    <a:pt x="900" y="58"/>
                  </a:cubicBezTo>
                  <a:cubicBezTo>
                    <a:pt x="900" y="68"/>
                    <a:pt x="903" y="87"/>
                    <a:pt x="923" y="87"/>
                  </a:cubicBezTo>
                  <a:cubicBezTo>
                    <a:pt x="932" y="88"/>
                    <a:pt x="940" y="86"/>
                    <a:pt x="948" y="81"/>
                  </a:cubicBezTo>
                  <a:lnTo>
                    <a:pt x="947" y="70"/>
                  </a:lnTo>
                  <a:cubicBezTo>
                    <a:pt x="941" y="73"/>
                    <a:pt x="933" y="75"/>
                    <a:pt x="926" y="76"/>
                  </a:cubicBezTo>
                  <a:cubicBezTo>
                    <a:pt x="919" y="76"/>
                    <a:pt x="916" y="71"/>
                    <a:pt x="916" y="61"/>
                  </a:cubicBezTo>
                  <a:lnTo>
                    <a:pt x="949" y="61"/>
                  </a:lnTo>
                  <a:cubicBezTo>
                    <a:pt x="949" y="61"/>
                    <a:pt x="949" y="57"/>
                    <a:pt x="949" y="56"/>
                  </a:cubicBezTo>
                  <a:moveTo>
                    <a:pt x="933" y="52"/>
                  </a:moveTo>
                  <a:lnTo>
                    <a:pt x="916" y="52"/>
                  </a:lnTo>
                  <a:cubicBezTo>
                    <a:pt x="916" y="47"/>
                    <a:pt x="917" y="39"/>
                    <a:pt x="924" y="39"/>
                  </a:cubicBezTo>
                  <a:cubicBezTo>
                    <a:pt x="932" y="39"/>
                    <a:pt x="933" y="47"/>
                    <a:pt x="933" y="52"/>
                  </a:cubicBezTo>
                  <a:close/>
                  <a:moveTo>
                    <a:pt x="1015" y="57"/>
                  </a:moveTo>
                  <a:cubicBezTo>
                    <a:pt x="1015" y="46"/>
                    <a:pt x="1012" y="28"/>
                    <a:pt x="993" y="28"/>
                  </a:cubicBezTo>
                  <a:cubicBezTo>
                    <a:pt x="988" y="28"/>
                    <a:pt x="982" y="30"/>
                    <a:pt x="978" y="34"/>
                  </a:cubicBezTo>
                  <a:cubicBezTo>
                    <a:pt x="978" y="34"/>
                    <a:pt x="978" y="30"/>
                    <a:pt x="978" y="28"/>
                  </a:cubicBezTo>
                  <a:lnTo>
                    <a:pt x="978" y="3"/>
                  </a:lnTo>
                  <a:lnTo>
                    <a:pt x="963" y="4"/>
                  </a:lnTo>
                  <a:lnTo>
                    <a:pt x="963" y="74"/>
                  </a:lnTo>
                  <a:cubicBezTo>
                    <a:pt x="963" y="78"/>
                    <a:pt x="962" y="82"/>
                    <a:pt x="962" y="86"/>
                  </a:cubicBezTo>
                  <a:lnTo>
                    <a:pt x="977" y="86"/>
                  </a:lnTo>
                  <a:cubicBezTo>
                    <a:pt x="977" y="85"/>
                    <a:pt x="977" y="83"/>
                    <a:pt x="977" y="82"/>
                  </a:cubicBezTo>
                  <a:cubicBezTo>
                    <a:pt x="982" y="85"/>
                    <a:pt x="987" y="87"/>
                    <a:pt x="993" y="87"/>
                  </a:cubicBezTo>
                  <a:cubicBezTo>
                    <a:pt x="1007" y="87"/>
                    <a:pt x="1015" y="74"/>
                    <a:pt x="1015" y="57"/>
                  </a:cubicBezTo>
                  <a:moveTo>
                    <a:pt x="999" y="57"/>
                  </a:moveTo>
                  <a:cubicBezTo>
                    <a:pt x="999" y="70"/>
                    <a:pt x="994" y="75"/>
                    <a:pt x="990" y="75"/>
                  </a:cubicBezTo>
                  <a:cubicBezTo>
                    <a:pt x="986" y="75"/>
                    <a:pt x="982" y="73"/>
                    <a:pt x="978" y="71"/>
                  </a:cubicBezTo>
                  <a:lnTo>
                    <a:pt x="978" y="45"/>
                  </a:lnTo>
                  <a:cubicBezTo>
                    <a:pt x="982" y="42"/>
                    <a:pt x="986" y="40"/>
                    <a:pt x="990" y="40"/>
                  </a:cubicBezTo>
                  <a:cubicBezTo>
                    <a:pt x="998" y="40"/>
                    <a:pt x="999" y="51"/>
                    <a:pt x="999" y="57"/>
                  </a:cubicBezTo>
                  <a:moveTo>
                    <a:pt x="1075" y="56"/>
                  </a:moveTo>
                  <a:cubicBezTo>
                    <a:pt x="1075" y="43"/>
                    <a:pt x="1070" y="28"/>
                    <a:pt x="1050" y="28"/>
                  </a:cubicBezTo>
                  <a:cubicBezTo>
                    <a:pt x="1033" y="28"/>
                    <a:pt x="1026" y="43"/>
                    <a:pt x="1026" y="58"/>
                  </a:cubicBezTo>
                  <a:cubicBezTo>
                    <a:pt x="1026" y="68"/>
                    <a:pt x="1029" y="87"/>
                    <a:pt x="1049" y="87"/>
                  </a:cubicBezTo>
                  <a:cubicBezTo>
                    <a:pt x="1058" y="88"/>
                    <a:pt x="1066" y="86"/>
                    <a:pt x="1074" y="81"/>
                  </a:cubicBezTo>
                  <a:lnTo>
                    <a:pt x="1073" y="70"/>
                  </a:lnTo>
                  <a:cubicBezTo>
                    <a:pt x="1067" y="73"/>
                    <a:pt x="1059" y="75"/>
                    <a:pt x="1052" y="76"/>
                  </a:cubicBezTo>
                  <a:cubicBezTo>
                    <a:pt x="1045" y="76"/>
                    <a:pt x="1042" y="71"/>
                    <a:pt x="1042" y="61"/>
                  </a:cubicBezTo>
                  <a:lnTo>
                    <a:pt x="1075" y="61"/>
                  </a:lnTo>
                  <a:cubicBezTo>
                    <a:pt x="1075" y="61"/>
                    <a:pt x="1075" y="57"/>
                    <a:pt x="1075" y="56"/>
                  </a:cubicBezTo>
                  <a:moveTo>
                    <a:pt x="1060" y="52"/>
                  </a:moveTo>
                  <a:lnTo>
                    <a:pt x="1042" y="52"/>
                  </a:lnTo>
                  <a:cubicBezTo>
                    <a:pt x="1042" y="47"/>
                    <a:pt x="1043" y="39"/>
                    <a:pt x="1050" y="39"/>
                  </a:cubicBezTo>
                  <a:cubicBezTo>
                    <a:pt x="1058" y="39"/>
                    <a:pt x="1060" y="47"/>
                    <a:pt x="1060" y="52"/>
                  </a:cubicBezTo>
                  <a:close/>
                  <a:moveTo>
                    <a:pt x="1138" y="86"/>
                  </a:moveTo>
                  <a:lnTo>
                    <a:pt x="1138" y="47"/>
                  </a:lnTo>
                  <a:cubicBezTo>
                    <a:pt x="1139" y="42"/>
                    <a:pt x="1138" y="38"/>
                    <a:pt x="1135" y="34"/>
                  </a:cubicBezTo>
                  <a:cubicBezTo>
                    <a:pt x="1132" y="30"/>
                    <a:pt x="1127" y="27"/>
                    <a:pt x="1121" y="28"/>
                  </a:cubicBezTo>
                  <a:cubicBezTo>
                    <a:pt x="1115" y="29"/>
                    <a:pt x="1108" y="32"/>
                    <a:pt x="1103" y="37"/>
                  </a:cubicBezTo>
                  <a:cubicBezTo>
                    <a:pt x="1103" y="34"/>
                    <a:pt x="1103" y="32"/>
                    <a:pt x="1102" y="29"/>
                  </a:cubicBezTo>
                  <a:lnTo>
                    <a:pt x="1088" y="29"/>
                  </a:lnTo>
                  <a:cubicBezTo>
                    <a:pt x="1088" y="29"/>
                    <a:pt x="1089" y="36"/>
                    <a:pt x="1089" y="43"/>
                  </a:cubicBezTo>
                  <a:lnTo>
                    <a:pt x="1089" y="86"/>
                  </a:lnTo>
                  <a:lnTo>
                    <a:pt x="1104" y="86"/>
                  </a:lnTo>
                  <a:lnTo>
                    <a:pt x="1104" y="48"/>
                  </a:lnTo>
                  <a:cubicBezTo>
                    <a:pt x="1107" y="44"/>
                    <a:pt x="1112" y="42"/>
                    <a:pt x="1116" y="41"/>
                  </a:cubicBezTo>
                  <a:cubicBezTo>
                    <a:pt x="1120" y="41"/>
                    <a:pt x="1123" y="42"/>
                    <a:pt x="1123" y="48"/>
                  </a:cubicBezTo>
                  <a:lnTo>
                    <a:pt x="1123" y="86"/>
                  </a:lnTo>
                  <a:lnTo>
                    <a:pt x="1138" y="86"/>
                  </a:lnTo>
                  <a:close/>
                  <a:moveTo>
                    <a:pt x="1170" y="79"/>
                  </a:moveTo>
                  <a:cubicBezTo>
                    <a:pt x="1170" y="74"/>
                    <a:pt x="1165" y="70"/>
                    <a:pt x="1160" y="70"/>
                  </a:cubicBezTo>
                  <a:cubicBezTo>
                    <a:pt x="1155" y="70"/>
                    <a:pt x="1151" y="74"/>
                    <a:pt x="1151" y="79"/>
                  </a:cubicBezTo>
                  <a:cubicBezTo>
                    <a:pt x="1151" y="84"/>
                    <a:pt x="1155" y="88"/>
                    <a:pt x="1160" y="88"/>
                  </a:cubicBezTo>
                  <a:cubicBezTo>
                    <a:pt x="1165" y="88"/>
                    <a:pt x="1170" y="84"/>
                    <a:pt x="1170" y="79"/>
                  </a:cubicBezTo>
                  <a:close/>
                </a:path>
              </a:pathLst>
            </a:custGeom>
            <a:solidFill>
              <a:srgbClr val="57687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7AAB9DB5-AF67-4DC9-9EDB-A14D6572FE72}"/>
              </a:ext>
            </a:extLst>
          </p:cNvPr>
          <p:cNvSpPr txBox="1">
            <a:spLocks/>
          </p:cNvSpPr>
          <p:nvPr/>
        </p:nvSpPr>
        <p:spPr>
          <a:xfrm>
            <a:off x="4047816" y="2780040"/>
            <a:ext cx="714833" cy="2348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de-DE"/>
            </a:defPPr>
            <a:lvl1pPr marL="0" algn="r" defTabSz="691195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597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91195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6792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82390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27987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73585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19182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64780" algn="l" defTabSz="691195" rtl="0" eaLnBrk="1" latinLnBrk="0" hangingPunct="1"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>
                <a:solidFill>
                  <a:schemeClr val="tx1"/>
                </a:solidFill>
              </a:rPr>
              <a:t>Folie </a:t>
            </a:r>
            <a:fld id="{6D4C9060-DEFA-4A83-8BDF-49E32732D5D6}" type="slidenum">
              <a:rPr lang="de-DE" smtClean="0">
                <a:solidFill>
                  <a:schemeClr val="tx1"/>
                </a:solidFill>
              </a:rPr>
              <a:pPr algn="l"/>
              <a:t>‹Nr.›</a:t>
            </a:fld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242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1pPr>
    <a:lvl2pPr marL="345597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2pPr>
    <a:lvl3pPr marL="691195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3pPr>
    <a:lvl4pPr marL="1036792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4pPr>
    <a:lvl5pPr marL="1382390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5pPr>
    <a:lvl6pPr marL="1727987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6pPr>
    <a:lvl7pPr marL="2073585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7pPr>
    <a:lvl8pPr marL="2419182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8pPr>
    <a:lvl9pPr marL="2764780" algn="l" defTabSz="691195" rtl="0" eaLnBrk="1" latinLnBrk="0" hangingPunct="1">
      <a:defRPr sz="90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6075" y="900113"/>
            <a:ext cx="3757613" cy="211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000" i="1" dirty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itte Link auf die Mustercharts einfügen – bzw. in Langfassung für Webinar und auf Landingpage hier nachfolgend 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Folie </a:t>
            </a:r>
            <a:fld id="{6D4C9060-DEFA-4A83-8BDF-49E32732D5D6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79447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6075" y="900113"/>
            <a:ext cx="3757613" cy="211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dirty="0"/>
              <a:t>Folie </a:t>
            </a:r>
            <a:fld id="{6D4C9060-DEFA-4A83-8BDF-49E32732D5D6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38803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6075" y="900113"/>
            <a:ext cx="3757613" cy="211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dirty="0"/>
              <a:t>Folie </a:t>
            </a:r>
            <a:fld id="{6D4C9060-DEFA-4A83-8BDF-49E32732D5D6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7276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6075" y="900113"/>
            <a:ext cx="3757613" cy="211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dirty="0"/>
              <a:t>Folie </a:t>
            </a:r>
            <a:fld id="{6D4C9060-DEFA-4A83-8BDF-49E32732D5D6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92866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6075" y="900113"/>
            <a:ext cx="3757613" cy="211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dirty="0"/>
              <a:t>Folie </a:t>
            </a:r>
            <a:fld id="{6D4C9060-DEFA-4A83-8BDF-49E32732D5D6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95214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6075" y="900113"/>
            <a:ext cx="3757613" cy="211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dirty="0"/>
              <a:t>Folie </a:t>
            </a:r>
            <a:fld id="{6D4C9060-DEFA-4A83-8BDF-49E32732D5D6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84680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6075" y="900113"/>
            <a:ext cx="3757613" cy="211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Folie </a:t>
            </a:r>
            <a:fld id="{6D4C9060-DEFA-4A83-8BDF-49E32732D5D6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686746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46075" y="900113"/>
            <a:ext cx="3757613" cy="2114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000" i="1" dirty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Übergangschart für das Beispiel, wie ein Versorger seine Daten eingib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Folie </a:t>
            </a:r>
            <a:fld id="{6D4C9060-DEFA-4A83-8BDF-49E32732D5D6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5945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80B651-FA77-43FF-A552-95A5EF8C9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255" y="2808515"/>
            <a:ext cx="6480719" cy="864000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2047FA1-05E6-4914-9E1F-9171B3BD67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256" y="3888000"/>
            <a:ext cx="6480000" cy="648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  <a:lvl2pPr marL="345578" indent="0" algn="ctr">
              <a:buNone/>
              <a:defRPr sz="1512"/>
            </a:lvl2pPr>
            <a:lvl3pPr marL="691157" indent="0" algn="ctr">
              <a:buNone/>
              <a:defRPr sz="1360"/>
            </a:lvl3pPr>
            <a:lvl4pPr marL="1036735" indent="0" algn="ctr">
              <a:buNone/>
              <a:defRPr sz="1209"/>
            </a:lvl4pPr>
            <a:lvl5pPr marL="1382316" indent="0" algn="ctr">
              <a:buNone/>
              <a:defRPr sz="1209"/>
            </a:lvl5pPr>
            <a:lvl6pPr marL="1727893" indent="0" algn="ctr">
              <a:buNone/>
              <a:defRPr sz="1209"/>
            </a:lvl6pPr>
            <a:lvl7pPr marL="2073473" indent="0" algn="ctr">
              <a:buNone/>
              <a:defRPr sz="1209"/>
            </a:lvl7pPr>
            <a:lvl8pPr marL="2419051" indent="0" algn="ctr">
              <a:buNone/>
              <a:defRPr sz="1209"/>
            </a:lvl8pPr>
            <a:lvl9pPr marL="2764630" indent="0" algn="ctr">
              <a:buNone/>
              <a:defRPr sz="1209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2E03B2E-D379-4F2F-B8A8-821AC7247E6E}"/>
              </a:ext>
            </a:extLst>
          </p:cNvPr>
          <p:cNvSpPr/>
          <p:nvPr/>
        </p:nvSpPr>
        <p:spPr>
          <a:xfrm>
            <a:off x="143223" y="144115"/>
            <a:ext cx="8928000" cy="4896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360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51D3890D-5DFA-402E-AF3A-BD2AA0A0CBF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71990" y="576162"/>
            <a:ext cx="1800225" cy="1224000"/>
            <a:chOff x="7271990" y="576162"/>
            <a:chExt cx="1800225" cy="1224000"/>
          </a:xfrm>
        </p:grpSpPr>
        <p:sp>
          <p:nvSpPr>
            <p:cNvPr id="30" name="Rectangle 6">
              <a:extLst>
                <a:ext uri="{FF2B5EF4-FFF2-40B4-BE49-F238E27FC236}">
                  <a16:creationId xmlns:a16="http://schemas.microsoft.com/office/drawing/2014/main" id="{442DBBCA-0AD8-477C-A38E-55BA2EA78B6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71990" y="576162"/>
              <a:ext cx="1800225" cy="1224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id="{5FC41617-9ACE-4123-B5AB-4EABCB35316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7538786" y="868025"/>
              <a:ext cx="1244600" cy="646113"/>
              <a:chOff x="7538786" y="868025"/>
              <a:chExt cx="1244600" cy="646113"/>
            </a:xfrm>
          </p:grpSpPr>
          <p:sp>
            <p:nvSpPr>
              <p:cNvPr id="32" name="Freeform 38">
                <a:extLst>
                  <a:ext uri="{FF2B5EF4-FFF2-40B4-BE49-F238E27FC236}">
                    <a16:creationId xmlns:a16="http://schemas.microsoft.com/office/drawing/2014/main" id="{628B0A91-19C6-4A2D-80E3-49BC2ED5797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1398250"/>
                <a:ext cx="1244600" cy="115888"/>
              </a:xfrm>
              <a:custGeom>
                <a:avLst/>
                <a:gdLst>
                  <a:gd name="T0" fmla="*/ 1559 w 1559"/>
                  <a:gd name="T1" fmla="*/ 104 h 146"/>
                  <a:gd name="T2" fmla="*/ 1471 w 1559"/>
                  <a:gd name="T3" fmla="*/ 48 h 146"/>
                  <a:gd name="T4" fmla="*/ 1472 w 1559"/>
                  <a:gd name="T5" fmla="*/ 114 h 146"/>
                  <a:gd name="T6" fmla="*/ 1518 w 1559"/>
                  <a:gd name="T7" fmla="*/ 114 h 146"/>
                  <a:gd name="T8" fmla="*/ 1433 w 1559"/>
                  <a:gd name="T9" fmla="*/ 74 h 146"/>
                  <a:gd name="T10" fmla="*/ 1431 w 1559"/>
                  <a:gd name="T11" fmla="*/ 92 h 146"/>
                  <a:gd name="T12" fmla="*/ 1332 w 1559"/>
                  <a:gd name="T13" fmla="*/ 75 h 146"/>
                  <a:gd name="T14" fmla="*/ 1332 w 1559"/>
                  <a:gd name="T15" fmla="*/ 75 h 146"/>
                  <a:gd name="T16" fmla="*/ 1304 w 1559"/>
                  <a:gd name="T17" fmla="*/ 2 h 146"/>
                  <a:gd name="T18" fmla="*/ 1303 w 1559"/>
                  <a:gd name="T19" fmla="*/ 108 h 146"/>
                  <a:gd name="T20" fmla="*/ 1232 w 1559"/>
                  <a:gd name="T21" fmla="*/ 51 h 146"/>
                  <a:gd name="T22" fmla="*/ 1231 w 1559"/>
                  <a:gd name="T23" fmla="*/ 115 h 146"/>
                  <a:gd name="T24" fmla="*/ 1265 w 1559"/>
                  <a:gd name="T25" fmla="*/ 80 h 146"/>
                  <a:gd name="T26" fmla="*/ 1145 w 1559"/>
                  <a:gd name="T27" fmla="*/ 11 h 146"/>
                  <a:gd name="T28" fmla="*/ 1061 w 1559"/>
                  <a:gd name="T29" fmla="*/ 92 h 146"/>
                  <a:gd name="T30" fmla="*/ 1044 w 1559"/>
                  <a:gd name="T31" fmla="*/ 37 h 146"/>
                  <a:gd name="T32" fmla="*/ 1008 w 1559"/>
                  <a:gd name="T33" fmla="*/ 56 h 146"/>
                  <a:gd name="T34" fmla="*/ 1051 w 1559"/>
                  <a:gd name="T35" fmla="*/ 54 h 146"/>
                  <a:gd name="T36" fmla="*/ 970 w 1559"/>
                  <a:gd name="T37" fmla="*/ 68 h 146"/>
                  <a:gd name="T38" fmla="*/ 989 w 1559"/>
                  <a:gd name="T39" fmla="*/ 108 h 146"/>
                  <a:gd name="T40" fmla="*/ 990 w 1559"/>
                  <a:gd name="T41" fmla="*/ 74 h 146"/>
                  <a:gd name="T42" fmla="*/ 906 w 1559"/>
                  <a:gd name="T43" fmla="*/ 57 h 146"/>
                  <a:gd name="T44" fmla="*/ 892 w 1559"/>
                  <a:gd name="T45" fmla="*/ 92 h 146"/>
                  <a:gd name="T46" fmla="*/ 911 w 1559"/>
                  <a:gd name="T47" fmla="*/ 91 h 146"/>
                  <a:gd name="T48" fmla="*/ 837 w 1559"/>
                  <a:gd name="T49" fmla="*/ 57 h 146"/>
                  <a:gd name="T50" fmla="*/ 823 w 1559"/>
                  <a:gd name="T51" fmla="*/ 92 h 146"/>
                  <a:gd name="T52" fmla="*/ 843 w 1559"/>
                  <a:gd name="T53" fmla="*/ 91 h 146"/>
                  <a:gd name="T54" fmla="*/ 749 w 1559"/>
                  <a:gd name="T55" fmla="*/ 80 h 146"/>
                  <a:gd name="T56" fmla="*/ 765 w 1559"/>
                  <a:gd name="T57" fmla="*/ 43 h 146"/>
                  <a:gd name="T58" fmla="*/ 749 w 1559"/>
                  <a:gd name="T59" fmla="*/ 61 h 146"/>
                  <a:gd name="T60" fmla="*/ 751 w 1559"/>
                  <a:gd name="T61" fmla="*/ 107 h 146"/>
                  <a:gd name="T62" fmla="*/ 667 w 1559"/>
                  <a:gd name="T63" fmla="*/ 61 h 146"/>
                  <a:gd name="T64" fmla="*/ 613 w 1559"/>
                  <a:gd name="T65" fmla="*/ 61 h 146"/>
                  <a:gd name="T66" fmla="*/ 597 w 1559"/>
                  <a:gd name="T67" fmla="*/ 114 h 146"/>
                  <a:gd name="T68" fmla="*/ 650 w 1559"/>
                  <a:gd name="T69" fmla="*/ 114 h 146"/>
                  <a:gd name="T70" fmla="*/ 512 w 1559"/>
                  <a:gd name="T71" fmla="*/ 104 h 146"/>
                  <a:gd name="T72" fmla="*/ 464 w 1559"/>
                  <a:gd name="T73" fmla="*/ 51 h 146"/>
                  <a:gd name="T74" fmla="*/ 462 w 1559"/>
                  <a:gd name="T75" fmla="*/ 115 h 146"/>
                  <a:gd name="T76" fmla="*/ 496 w 1559"/>
                  <a:gd name="T77" fmla="*/ 80 h 146"/>
                  <a:gd name="T78" fmla="*/ 393 w 1559"/>
                  <a:gd name="T79" fmla="*/ 38 h 146"/>
                  <a:gd name="T80" fmla="*/ 391 w 1559"/>
                  <a:gd name="T81" fmla="*/ 12 h 146"/>
                  <a:gd name="T82" fmla="*/ 326 w 1559"/>
                  <a:gd name="T83" fmla="*/ 75 h 146"/>
                  <a:gd name="T84" fmla="*/ 355 w 1559"/>
                  <a:gd name="T85" fmla="*/ 38 h 146"/>
                  <a:gd name="T86" fmla="*/ 353 w 1559"/>
                  <a:gd name="T87" fmla="*/ 103 h 146"/>
                  <a:gd name="T88" fmla="*/ 310 w 1559"/>
                  <a:gd name="T89" fmla="*/ 122 h 146"/>
                  <a:gd name="T90" fmla="*/ 373 w 1559"/>
                  <a:gd name="T91" fmla="*/ 56 h 146"/>
                  <a:gd name="T92" fmla="*/ 269 w 1559"/>
                  <a:gd name="T93" fmla="*/ 47 h 146"/>
                  <a:gd name="T94" fmla="*/ 270 w 1559"/>
                  <a:gd name="T95" fmla="*/ 114 h 146"/>
                  <a:gd name="T96" fmla="*/ 211 w 1559"/>
                  <a:gd name="T97" fmla="*/ 68 h 146"/>
                  <a:gd name="T98" fmla="*/ 198 w 1559"/>
                  <a:gd name="T99" fmla="*/ 36 h 146"/>
                  <a:gd name="T100" fmla="*/ 200 w 1559"/>
                  <a:gd name="T101" fmla="*/ 100 h 146"/>
                  <a:gd name="T102" fmla="*/ 148 w 1559"/>
                  <a:gd name="T103" fmla="*/ 62 h 146"/>
                  <a:gd name="T104" fmla="*/ 81 w 1559"/>
                  <a:gd name="T105" fmla="*/ 38 h 146"/>
                  <a:gd name="T106" fmla="*/ 119 w 1559"/>
                  <a:gd name="T107" fmla="*/ 54 h 146"/>
                  <a:gd name="T108" fmla="*/ 66 w 1559"/>
                  <a:gd name="T109" fmla="*/ 96 h 146"/>
                  <a:gd name="T110" fmla="*/ 21 w 1559"/>
                  <a:gd name="T111" fmla="*/ 52 h 146"/>
                  <a:gd name="T112" fmla="*/ 0 w 1559"/>
                  <a:gd name="T113" fmla="*/ 11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59" h="146">
                    <a:moveTo>
                      <a:pt x="1559" y="104"/>
                    </a:moveTo>
                    <a:cubicBezTo>
                      <a:pt x="1559" y="98"/>
                      <a:pt x="1556" y="92"/>
                      <a:pt x="1547" y="92"/>
                    </a:cubicBezTo>
                    <a:cubicBezTo>
                      <a:pt x="1539" y="92"/>
                      <a:pt x="1535" y="98"/>
                      <a:pt x="1535" y="104"/>
                    </a:cubicBezTo>
                    <a:cubicBezTo>
                      <a:pt x="1535" y="110"/>
                      <a:pt x="1539" y="116"/>
                      <a:pt x="1547" y="116"/>
                    </a:cubicBezTo>
                    <a:cubicBezTo>
                      <a:pt x="1556" y="116"/>
                      <a:pt x="1559" y="110"/>
                      <a:pt x="1559" y="104"/>
                    </a:cubicBezTo>
                    <a:close/>
                    <a:moveTo>
                      <a:pt x="1518" y="114"/>
                    </a:moveTo>
                    <a:lnTo>
                      <a:pt x="1518" y="62"/>
                    </a:lnTo>
                    <a:cubicBezTo>
                      <a:pt x="1518" y="55"/>
                      <a:pt x="1517" y="49"/>
                      <a:pt x="1514" y="45"/>
                    </a:cubicBezTo>
                    <a:cubicBezTo>
                      <a:pt x="1510" y="39"/>
                      <a:pt x="1504" y="36"/>
                      <a:pt x="1495" y="36"/>
                    </a:cubicBezTo>
                    <a:cubicBezTo>
                      <a:pt x="1485" y="36"/>
                      <a:pt x="1474" y="45"/>
                      <a:pt x="1471" y="48"/>
                    </a:cubicBezTo>
                    <a:cubicBezTo>
                      <a:pt x="1471" y="43"/>
                      <a:pt x="1470" y="38"/>
                      <a:pt x="1470" y="38"/>
                    </a:cubicBezTo>
                    <a:lnTo>
                      <a:pt x="1450" y="38"/>
                    </a:lnTo>
                    <a:cubicBezTo>
                      <a:pt x="1450" y="38"/>
                      <a:pt x="1451" y="47"/>
                      <a:pt x="1451" y="56"/>
                    </a:cubicBezTo>
                    <a:lnTo>
                      <a:pt x="1451" y="114"/>
                    </a:lnTo>
                    <a:lnTo>
                      <a:pt x="1472" y="114"/>
                    </a:lnTo>
                    <a:lnTo>
                      <a:pt x="1472" y="62"/>
                    </a:lnTo>
                    <a:cubicBezTo>
                      <a:pt x="1475" y="59"/>
                      <a:pt x="1482" y="54"/>
                      <a:pt x="1488" y="54"/>
                    </a:cubicBezTo>
                    <a:cubicBezTo>
                      <a:pt x="1493" y="54"/>
                      <a:pt x="1497" y="55"/>
                      <a:pt x="1497" y="64"/>
                    </a:cubicBezTo>
                    <a:lnTo>
                      <a:pt x="1497" y="114"/>
                    </a:lnTo>
                    <a:lnTo>
                      <a:pt x="1518" y="114"/>
                    </a:lnTo>
                    <a:close/>
                    <a:moveTo>
                      <a:pt x="1413" y="68"/>
                    </a:moveTo>
                    <a:lnTo>
                      <a:pt x="1389" y="68"/>
                    </a:lnTo>
                    <a:cubicBezTo>
                      <a:pt x="1389" y="62"/>
                      <a:pt x="1391" y="51"/>
                      <a:pt x="1400" y="51"/>
                    </a:cubicBezTo>
                    <a:cubicBezTo>
                      <a:pt x="1411" y="51"/>
                      <a:pt x="1413" y="62"/>
                      <a:pt x="1413" y="68"/>
                    </a:cubicBezTo>
                    <a:close/>
                    <a:moveTo>
                      <a:pt x="1433" y="74"/>
                    </a:moveTo>
                    <a:cubicBezTo>
                      <a:pt x="1433" y="56"/>
                      <a:pt x="1426" y="36"/>
                      <a:pt x="1400" y="36"/>
                    </a:cubicBezTo>
                    <a:cubicBezTo>
                      <a:pt x="1378" y="36"/>
                      <a:pt x="1367" y="56"/>
                      <a:pt x="1367" y="76"/>
                    </a:cubicBezTo>
                    <a:cubicBezTo>
                      <a:pt x="1367" y="90"/>
                      <a:pt x="1372" y="115"/>
                      <a:pt x="1399" y="115"/>
                    </a:cubicBezTo>
                    <a:cubicBezTo>
                      <a:pt x="1420" y="115"/>
                      <a:pt x="1432" y="108"/>
                      <a:pt x="1432" y="108"/>
                    </a:cubicBezTo>
                    <a:lnTo>
                      <a:pt x="1431" y="92"/>
                    </a:lnTo>
                    <a:cubicBezTo>
                      <a:pt x="1431" y="92"/>
                      <a:pt x="1416" y="100"/>
                      <a:pt x="1402" y="100"/>
                    </a:cubicBezTo>
                    <a:cubicBezTo>
                      <a:pt x="1393" y="100"/>
                      <a:pt x="1389" y="94"/>
                      <a:pt x="1389" y="80"/>
                    </a:cubicBezTo>
                    <a:lnTo>
                      <a:pt x="1433" y="80"/>
                    </a:lnTo>
                    <a:cubicBezTo>
                      <a:pt x="1433" y="80"/>
                      <a:pt x="1433" y="76"/>
                      <a:pt x="1433" y="74"/>
                    </a:cubicBezTo>
                    <a:moveTo>
                      <a:pt x="1332" y="75"/>
                    </a:moveTo>
                    <a:cubicBezTo>
                      <a:pt x="1332" y="93"/>
                      <a:pt x="1326" y="99"/>
                      <a:pt x="1319" y="99"/>
                    </a:cubicBezTo>
                    <a:cubicBezTo>
                      <a:pt x="1316" y="99"/>
                      <a:pt x="1310" y="97"/>
                      <a:pt x="1304" y="94"/>
                    </a:cubicBezTo>
                    <a:lnTo>
                      <a:pt x="1304" y="59"/>
                    </a:lnTo>
                    <a:cubicBezTo>
                      <a:pt x="1310" y="54"/>
                      <a:pt x="1316" y="53"/>
                      <a:pt x="1320" y="53"/>
                    </a:cubicBezTo>
                    <a:cubicBezTo>
                      <a:pt x="1330" y="53"/>
                      <a:pt x="1332" y="67"/>
                      <a:pt x="1332" y="75"/>
                    </a:cubicBezTo>
                    <a:close/>
                    <a:moveTo>
                      <a:pt x="1353" y="76"/>
                    </a:moveTo>
                    <a:cubicBezTo>
                      <a:pt x="1353" y="60"/>
                      <a:pt x="1349" y="36"/>
                      <a:pt x="1324" y="36"/>
                    </a:cubicBezTo>
                    <a:cubicBezTo>
                      <a:pt x="1315" y="36"/>
                      <a:pt x="1306" y="43"/>
                      <a:pt x="1304" y="44"/>
                    </a:cubicBezTo>
                    <a:cubicBezTo>
                      <a:pt x="1304" y="44"/>
                      <a:pt x="1304" y="39"/>
                      <a:pt x="1304" y="36"/>
                    </a:cubicBezTo>
                    <a:lnTo>
                      <a:pt x="1304" y="2"/>
                    </a:lnTo>
                    <a:lnTo>
                      <a:pt x="1284" y="4"/>
                    </a:lnTo>
                    <a:lnTo>
                      <a:pt x="1284" y="98"/>
                    </a:lnTo>
                    <a:cubicBezTo>
                      <a:pt x="1284" y="105"/>
                      <a:pt x="1283" y="114"/>
                      <a:pt x="1283" y="114"/>
                    </a:cubicBezTo>
                    <a:lnTo>
                      <a:pt x="1302" y="114"/>
                    </a:lnTo>
                    <a:cubicBezTo>
                      <a:pt x="1303" y="112"/>
                      <a:pt x="1303" y="109"/>
                      <a:pt x="1303" y="108"/>
                    </a:cubicBezTo>
                    <a:cubicBezTo>
                      <a:pt x="1304" y="109"/>
                      <a:pt x="1313" y="115"/>
                      <a:pt x="1324" y="115"/>
                    </a:cubicBezTo>
                    <a:cubicBezTo>
                      <a:pt x="1342" y="115"/>
                      <a:pt x="1353" y="98"/>
                      <a:pt x="1353" y="76"/>
                    </a:cubicBezTo>
                    <a:moveTo>
                      <a:pt x="1245" y="68"/>
                    </a:moveTo>
                    <a:lnTo>
                      <a:pt x="1221" y="68"/>
                    </a:lnTo>
                    <a:cubicBezTo>
                      <a:pt x="1221" y="62"/>
                      <a:pt x="1223" y="51"/>
                      <a:pt x="1232" y="51"/>
                    </a:cubicBezTo>
                    <a:cubicBezTo>
                      <a:pt x="1243" y="51"/>
                      <a:pt x="1245" y="62"/>
                      <a:pt x="1245" y="68"/>
                    </a:cubicBezTo>
                    <a:close/>
                    <a:moveTo>
                      <a:pt x="1265" y="74"/>
                    </a:moveTo>
                    <a:cubicBezTo>
                      <a:pt x="1265" y="56"/>
                      <a:pt x="1258" y="36"/>
                      <a:pt x="1232" y="36"/>
                    </a:cubicBezTo>
                    <a:cubicBezTo>
                      <a:pt x="1210" y="36"/>
                      <a:pt x="1199" y="56"/>
                      <a:pt x="1199" y="76"/>
                    </a:cubicBezTo>
                    <a:cubicBezTo>
                      <a:pt x="1199" y="90"/>
                      <a:pt x="1204" y="115"/>
                      <a:pt x="1231" y="115"/>
                    </a:cubicBezTo>
                    <a:cubicBezTo>
                      <a:pt x="1251" y="115"/>
                      <a:pt x="1264" y="108"/>
                      <a:pt x="1264" y="108"/>
                    </a:cubicBezTo>
                    <a:lnTo>
                      <a:pt x="1263" y="92"/>
                    </a:lnTo>
                    <a:cubicBezTo>
                      <a:pt x="1263" y="92"/>
                      <a:pt x="1248" y="100"/>
                      <a:pt x="1234" y="100"/>
                    </a:cubicBezTo>
                    <a:cubicBezTo>
                      <a:pt x="1225" y="100"/>
                      <a:pt x="1221" y="94"/>
                      <a:pt x="1221" y="80"/>
                    </a:cubicBezTo>
                    <a:lnTo>
                      <a:pt x="1265" y="80"/>
                    </a:lnTo>
                    <a:cubicBezTo>
                      <a:pt x="1265" y="80"/>
                      <a:pt x="1265" y="76"/>
                      <a:pt x="1265" y="74"/>
                    </a:cubicBezTo>
                    <a:moveTo>
                      <a:pt x="1188" y="114"/>
                    </a:moveTo>
                    <a:lnTo>
                      <a:pt x="1188" y="95"/>
                    </a:lnTo>
                    <a:lnTo>
                      <a:pt x="1145" y="95"/>
                    </a:lnTo>
                    <a:lnTo>
                      <a:pt x="1145" y="11"/>
                    </a:lnTo>
                    <a:lnTo>
                      <a:pt x="1124" y="11"/>
                    </a:lnTo>
                    <a:lnTo>
                      <a:pt x="1124" y="114"/>
                    </a:lnTo>
                    <a:lnTo>
                      <a:pt x="1188" y="114"/>
                    </a:lnTo>
                    <a:close/>
                    <a:moveTo>
                      <a:pt x="1073" y="104"/>
                    </a:moveTo>
                    <a:cubicBezTo>
                      <a:pt x="1073" y="98"/>
                      <a:pt x="1069" y="92"/>
                      <a:pt x="1061" y="92"/>
                    </a:cubicBezTo>
                    <a:cubicBezTo>
                      <a:pt x="1053" y="92"/>
                      <a:pt x="1048" y="98"/>
                      <a:pt x="1048" y="104"/>
                    </a:cubicBezTo>
                    <a:cubicBezTo>
                      <a:pt x="1048" y="110"/>
                      <a:pt x="1053" y="116"/>
                      <a:pt x="1061" y="116"/>
                    </a:cubicBezTo>
                    <a:cubicBezTo>
                      <a:pt x="1069" y="116"/>
                      <a:pt x="1073" y="110"/>
                      <a:pt x="1073" y="104"/>
                    </a:cubicBezTo>
                    <a:close/>
                    <a:moveTo>
                      <a:pt x="1053" y="38"/>
                    </a:moveTo>
                    <a:cubicBezTo>
                      <a:pt x="1053" y="38"/>
                      <a:pt x="1052" y="37"/>
                      <a:pt x="1044" y="37"/>
                    </a:cubicBezTo>
                    <a:cubicBezTo>
                      <a:pt x="1038" y="37"/>
                      <a:pt x="1032" y="42"/>
                      <a:pt x="1029" y="45"/>
                    </a:cubicBezTo>
                    <a:cubicBezTo>
                      <a:pt x="1029" y="46"/>
                      <a:pt x="1028" y="47"/>
                      <a:pt x="1028" y="47"/>
                    </a:cubicBezTo>
                    <a:cubicBezTo>
                      <a:pt x="1028" y="43"/>
                      <a:pt x="1027" y="38"/>
                      <a:pt x="1027" y="38"/>
                    </a:cubicBezTo>
                    <a:lnTo>
                      <a:pt x="1007" y="38"/>
                    </a:lnTo>
                    <a:cubicBezTo>
                      <a:pt x="1007" y="38"/>
                      <a:pt x="1008" y="47"/>
                      <a:pt x="1008" y="56"/>
                    </a:cubicBezTo>
                    <a:lnTo>
                      <a:pt x="1008" y="114"/>
                    </a:lnTo>
                    <a:lnTo>
                      <a:pt x="1029" y="114"/>
                    </a:lnTo>
                    <a:lnTo>
                      <a:pt x="1029" y="60"/>
                    </a:lnTo>
                    <a:cubicBezTo>
                      <a:pt x="1034" y="56"/>
                      <a:pt x="1039" y="53"/>
                      <a:pt x="1041" y="53"/>
                    </a:cubicBezTo>
                    <a:cubicBezTo>
                      <a:pt x="1047" y="53"/>
                      <a:pt x="1051" y="54"/>
                      <a:pt x="1051" y="54"/>
                    </a:cubicBezTo>
                    <a:lnTo>
                      <a:pt x="1053" y="38"/>
                    </a:lnTo>
                    <a:close/>
                    <a:moveTo>
                      <a:pt x="970" y="68"/>
                    </a:moveTo>
                    <a:lnTo>
                      <a:pt x="946" y="68"/>
                    </a:lnTo>
                    <a:cubicBezTo>
                      <a:pt x="946" y="62"/>
                      <a:pt x="948" y="51"/>
                      <a:pt x="958" y="51"/>
                    </a:cubicBezTo>
                    <a:cubicBezTo>
                      <a:pt x="968" y="51"/>
                      <a:pt x="970" y="62"/>
                      <a:pt x="970" y="68"/>
                    </a:cubicBezTo>
                    <a:close/>
                    <a:moveTo>
                      <a:pt x="990" y="74"/>
                    </a:moveTo>
                    <a:cubicBezTo>
                      <a:pt x="990" y="56"/>
                      <a:pt x="983" y="36"/>
                      <a:pt x="958" y="36"/>
                    </a:cubicBezTo>
                    <a:cubicBezTo>
                      <a:pt x="935" y="36"/>
                      <a:pt x="925" y="56"/>
                      <a:pt x="925" y="76"/>
                    </a:cubicBezTo>
                    <a:cubicBezTo>
                      <a:pt x="925" y="90"/>
                      <a:pt x="929" y="115"/>
                      <a:pt x="956" y="115"/>
                    </a:cubicBezTo>
                    <a:cubicBezTo>
                      <a:pt x="977" y="115"/>
                      <a:pt x="989" y="108"/>
                      <a:pt x="989" y="108"/>
                    </a:cubicBezTo>
                    <a:lnTo>
                      <a:pt x="988" y="92"/>
                    </a:lnTo>
                    <a:cubicBezTo>
                      <a:pt x="988" y="92"/>
                      <a:pt x="974" y="100"/>
                      <a:pt x="960" y="100"/>
                    </a:cubicBezTo>
                    <a:cubicBezTo>
                      <a:pt x="951" y="100"/>
                      <a:pt x="946" y="94"/>
                      <a:pt x="946" y="80"/>
                    </a:cubicBezTo>
                    <a:lnTo>
                      <a:pt x="990" y="80"/>
                    </a:lnTo>
                    <a:cubicBezTo>
                      <a:pt x="990" y="80"/>
                      <a:pt x="990" y="76"/>
                      <a:pt x="990" y="74"/>
                    </a:cubicBezTo>
                    <a:moveTo>
                      <a:pt x="911" y="91"/>
                    </a:moveTo>
                    <a:cubicBezTo>
                      <a:pt x="911" y="73"/>
                      <a:pt x="894" y="70"/>
                      <a:pt x="882" y="64"/>
                    </a:cubicBezTo>
                    <a:cubicBezTo>
                      <a:pt x="879" y="63"/>
                      <a:pt x="876" y="61"/>
                      <a:pt x="876" y="58"/>
                    </a:cubicBezTo>
                    <a:cubicBezTo>
                      <a:pt x="876" y="56"/>
                      <a:pt x="878" y="52"/>
                      <a:pt x="884" y="52"/>
                    </a:cubicBezTo>
                    <a:cubicBezTo>
                      <a:pt x="894" y="52"/>
                      <a:pt x="906" y="57"/>
                      <a:pt x="906" y="57"/>
                    </a:cubicBezTo>
                    <a:lnTo>
                      <a:pt x="907" y="40"/>
                    </a:lnTo>
                    <a:cubicBezTo>
                      <a:pt x="907" y="40"/>
                      <a:pt x="897" y="36"/>
                      <a:pt x="885" y="36"/>
                    </a:cubicBezTo>
                    <a:cubicBezTo>
                      <a:pt x="870" y="36"/>
                      <a:pt x="857" y="44"/>
                      <a:pt x="857" y="60"/>
                    </a:cubicBezTo>
                    <a:cubicBezTo>
                      <a:pt x="857" y="77"/>
                      <a:pt x="874" y="80"/>
                      <a:pt x="885" y="85"/>
                    </a:cubicBezTo>
                    <a:cubicBezTo>
                      <a:pt x="889" y="87"/>
                      <a:pt x="892" y="89"/>
                      <a:pt x="892" y="92"/>
                    </a:cubicBezTo>
                    <a:cubicBezTo>
                      <a:pt x="892" y="96"/>
                      <a:pt x="888" y="99"/>
                      <a:pt x="883" y="99"/>
                    </a:cubicBezTo>
                    <a:cubicBezTo>
                      <a:pt x="872" y="99"/>
                      <a:pt x="857" y="91"/>
                      <a:pt x="857" y="91"/>
                    </a:cubicBezTo>
                    <a:lnTo>
                      <a:pt x="856" y="110"/>
                    </a:lnTo>
                    <a:cubicBezTo>
                      <a:pt x="856" y="110"/>
                      <a:pt x="869" y="116"/>
                      <a:pt x="883" y="116"/>
                    </a:cubicBezTo>
                    <a:cubicBezTo>
                      <a:pt x="898" y="116"/>
                      <a:pt x="911" y="108"/>
                      <a:pt x="911" y="91"/>
                    </a:cubicBezTo>
                    <a:close/>
                    <a:moveTo>
                      <a:pt x="843" y="91"/>
                    </a:moveTo>
                    <a:cubicBezTo>
                      <a:pt x="843" y="73"/>
                      <a:pt x="826" y="70"/>
                      <a:pt x="813" y="64"/>
                    </a:cubicBezTo>
                    <a:cubicBezTo>
                      <a:pt x="810" y="63"/>
                      <a:pt x="807" y="61"/>
                      <a:pt x="807" y="58"/>
                    </a:cubicBezTo>
                    <a:cubicBezTo>
                      <a:pt x="807" y="56"/>
                      <a:pt x="809" y="52"/>
                      <a:pt x="815" y="52"/>
                    </a:cubicBezTo>
                    <a:cubicBezTo>
                      <a:pt x="825" y="52"/>
                      <a:pt x="837" y="57"/>
                      <a:pt x="837" y="57"/>
                    </a:cubicBezTo>
                    <a:lnTo>
                      <a:pt x="838" y="40"/>
                    </a:lnTo>
                    <a:cubicBezTo>
                      <a:pt x="838" y="40"/>
                      <a:pt x="828" y="36"/>
                      <a:pt x="816" y="36"/>
                    </a:cubicBezTo>
                    <a:cubicBezTo>
                      <a:pt x="801" y="36"/>
                      <a:pt x="788" y="44"/>
                      <a:pt x="788" y="60"/>
                    </a:cubicBezTo>
                    <a:cubicBezTo>
                      <a:pt x="788" y="77"/>
                      <a:pt x="805" y="80"/>
                      <a:pt x="817" y="85"/>
                    </a:cubicBezTo>
                    <a:cubicBezTo>
                      <a:pt x="820" y="87"/>
                      <a:pt x="823" y="89"/>
                      <a:pt x="823" y="92"/>
                    </a:cubicBezTo>
                    <a:cubicBezTo>
                      <a:pt x="823" y="96"/>
                      <a:pt x="819" y="99"/>
                      <a:pt x="815" y="99"/>
                    </a:cubicBezTo>
                    <a:cubicBezTo>
                      <a:pt x="803" y="99"/>
                      <a:pt x="788" y="91"/>
                      <a:pt x="788" y="91"/>
                    </a:cubicBezTo>
                    <a:lnTo>
                      <a:pt x="787" y="110"/>
                    </a:lnTo>
                    <a:cubicBezTo>
                      <a:pt x="787" y="110"/>
                      <a:pt x="800" y="116"/>
                      <a:pt x="814" y="116"/>
                    </a:cubicBezTo>
                    <a:cubicBezTo>
                      <a:pt x="829" y="116"/>
                      <a:pt x="843" y="108"/>
                      <a:pt x="843" y="91"/>
                    </a:cubicBezTo>
                    <a:close/>
                    <a:moveTo>
                      <a:pt x="749" y="94"/>
                    </a:moveTo>
                    <a:cubicBezTo>
                      <a:pt x="747" y="96"/>
                      <a:pt x="742" y="100"/>
                      <a:pt x="736" y="100"/>
                    </a:cubicBezTo>
                    <a:cubicBezTo>
                      <a:pt x="731" y="100"/>
                      <a:pt x="729" y="95"/>
                      <a:pt x="729" y="91"/>
                    </a:cubicBezTo>
                    <a:cubicBezTo>
                      <a:pt x="729" y="89"/>
                      <a:pt x="730" y="87"/>
                      <a:pt x="732" y="85"/>
                    </a:cubicBezTo>
                    <a:cubicBezTo>
                      <a:pt x="736" y="81"/>
                      <a:pt x="746" y="80"/>
                      <a:pt x="749" y="80"/>
                    </a:cubicBezTo>
                    <a:lnTo>
                      <a:pt x="749" y="94"/>
                    </a:lnTo>
                    <a:close/>
                    <a:moveTo>
                      <a:pt x="771" y="114"/>
                    </a:moveTo>
                    <a:cubicBezTo>
                      <a:pt x="771" y="114"/>
                      <a:pt x="770" y="107"/>
                      <a:pt x="770" y="98"/>
                    </a:cubicBezTo>
                    <a:lnTo>
                      <a:pt x="770" y="62"/>
                    </a:lnTo>
                    <a:cubicBezTo>
                      <a:pt x="770" y="54"/>
                      <a:pt x="769" y="48"/>
                      <a:pt x="765" y="43"/>
                    </a:cubicBezTo>
                    <a:cubicBezTo>
                      <a:pt x="761" y="39"/>
                      <a:pt x="755" y="36"/>
                      <a:pt x="745" y="36"/>
                    </a:cubicBezTo>
                    <a:cubicBezTo>
                      <a:pt x="729" y="36"/>
                      <a:pt x="714" y="43"/>
                      <a:pt x="714" y="43"/>
                    </a:cubicBezTo>
                    <a:lnTo>
                      <a:pt x="715" y="59"/>
                    </a:lnTo>
                    <a:cubicBezTo>
                      <a:pt x="720" y="56"/>
                      <a:pt x="731" y="52"/>
                      <a:pt x="741" y="52"/>
                    </a:cubicBezTo>
                    <a:cubicBezTo>
                      <a:pt x="747" y="52"/>
                      <a:pt x="749" y="55"/>
                      <a:pt x="749" y="61"/>
                    </a:cubicBezTo>
                    <a:lnTo>
                      <a:pt x="749" y="69"/>
                    </a:lnTo>
                    <a:cubicBezTo>
                      <a:pt x="740" y="69"/>
                      <a:pt x="725" y="70"/>
                      <a:pt x="716" y="77"/>
                    </a:cubicBezTo>
                    <a:cubicBezTo>
                      <a:pt x="711" y="81"/>
                      <a:pt x="709" y="85"/>
                      <a:pt x="709" y="92"/>
                    </a:cubicBezTo>
                    <a:cubicBezTo>
                      <a:pt x="709" y="102"/>
                      <a:pt x="714" y="115"/>
                      <a:pt x="730" y="115"/>
                    </a:cubicBezTo>
                    <a:cubicBezTo>
                      <a:pt x="741" y="115"/>
                      <a:pt x="751" y="107"/>
                      <a:pt x="751" y="107"/>
                    </a:cubicBezTo>
                    <a:cubicBezTo>
                      <a:pt x="751" y="110"/>
                      <a:pt x="751" y="114"/>
                      <a:pt x="751" y="114"/>
                    </a:cubicBezTo>
                    <a:lnTo>
                      <a:pt x="771" y="114"/>
                    </a:lnTo>
                    <a:close/>
                    <a:moveTo>
                      <a:pt x="701" y="12"/>
                    </a:moveTo>
                    <a:lnTo>
                      <a:pt x="679" y="11"/>
                    </a:lnTo>
                    <a:lnTo>
                      <a:pt x="667" y="61"/>
                    </a:lnTo>
                    <a:cubicBezTo>
                      <a:pt x="665" y="68"/>
                      <a:pt x="663" y="83"/>
                      <a:pt x="662" y="86"/>
                    </a:cubicBezTo>
                    <a:cubicBezTo>
                      <a:pt x="662" y="83"/>
                      <a:pt x="659" y="68"/>
                      <a:pt x="658" y="61"/>
                    </a:cubicBezTo>
                    <a:lnTo>
                      <a:pt x="646" y="11"/>
                    </a:lnTo>
                    <a:lnTo>
                      <a:pt x="624" y="11"/>
                    </a:lnTo>
                    <a:lnTo>
                      <a:pt x="613" y="61"/>
                    </a:lnTo>
                    <a:cubicBezTo>
                      <a:pt x="611" y="68"/>
                      <a:pt x="609" y="82"/>
                      <a:pt x="608" y="85"/>
                    </a:cubicBezTo>
                    <a:cubicBezTo>
                      <a:pt x="608" y="82"/>
                      <a:pt x="605" y="68"/>
                      <a:pt x="604" y="61"/>
                    </a:cubicBezTo>
                    <a:lnTo>
                      <a:pt x="592" y="10"/>
                    </a:lnTo>
                    <a:lnTo>
                      <a:pt x="570" y="11"/>
                    </a:lnTo>
                    <a:lnTo>
                      <a:pt x="597" y="114"/>
                    </a:lnTo>
                    <a:lnTo>
                      <a:pt x="619" y="114"/>
                    </a:lnTo>
                    <a:lnTo>
                      <a:pt x="630" y="67"/>
                    </a:lnTo>
                    <a:cubicBezTo>
                      <a:pt x="631" y="59"/>
                      <a:pt x="635" y="40"/>
                      <a:pt x="635" y="40"/>
                    </a:cubicBezTo>
                    <a:cubicBezTo>
                      <a:pt x="635" y="40"/>
                      <a:pt x="638" y="59"/>
                      <a:pt x="640" y="67"/>
                    </a:cubicBezTo>
                    <a:lnTo>
                      <a:pt x="650" y="114"/>
                    </a:lnTo>
                    <a:lnTo>
                      <a:pt x="673" y="114"/>
                    </a:lnTo>
                    <a:lnTo>
                      <a:pt x="701" y="12"/>
                    </a:lnTo>
                    <a:close/>
                    <a:moveTo>
                      <a:pt x="537" y="104"/>
                    </a:moveTo>
                    <a:cubicBezTo>
                      <a:pt x="537" y="98"/>
                      <a:pt x="533" y="92"/>
                      <a:pt x="525" y="92"/>
                    </a:cubicBezTo>
                    <a:cubicBezTo>
                      <a:pt x="516" y="92"/>
                      <a:pt x="512" y="98"/>
                      <a:pt x="512" y="104"/>
                    </a:cubicBezTo>
                    <a:cubicBezTo>
                      <a:pt x="512" y="110"/>
                      <a:pt x="516" y="116"/>
                      <a:pt x="525" y="116"/>
                    </a:cubicBezTo>
                    <a:cubicBezTo>
                      <a:pt x="533" y="116"/>
                      <a:pt x="537" y="110"/>
                      <a:pt x="537" y="104"/>
                    </a:cubicBezTo>
                    <a:close/>
                    <a:moveTo>
                      <a:pt x="476" y="68"/>
                    </a:moveTo>
                    <a:lnTo>
                      <a:pt x="452" y="68"/>
                    </a:lnTo>
                    <a:cubicBezTo>
                      <a:pt x="452" y="62"/>
                      <a:pt x="454" y="51"/>
                      <a:pt x="464" y="51"/>
                    </a:cubicBezTo>
                    <a:cubicBezTo>
                      <a:pt x="474" y="51"/>
                      <a:pt x="476" y="62"/>
                      <a:pt x="476" y="68"/>
                    </a:cubicBezTo>
                    <a:moveTo>
                      <a:pt x="496" y="74"/>
                    </a:moveTo>
                    <a:cubicBezTo>
                      <a:pt x="496" y="56"/>
                      <a:pt x="489" y="36"/>
                      <a:pt x="464" y="36"/>
                    </a:cubicBezTo>
                    <a:cubicBezTo>
                      <a:pt x="441" y="36"/>
                      <a:pt x="431" y="56"/>
                      <a:pt x="431" y="76"/>
                    </a:cubicBezTo>
                    <a:cubicBezTo>
                      <a:pt x="431" y="90"/>
                      <a:pt x="435" y="115"/>
                      <a:pt x="462" y="115"/>
                    </a:cubicBezTo>
                    <a:cubicBezTo>
                      <a:pt x="483" y="115"/>
                      <a:pt x="495" y="108"/>
                      <a:pt x="495" y="108"/>
                    </a:cubicBezTo>
                    <a:lnTo>
                      <a:pt x="494" y="92"/>
                    </a:lnTo>
                    <a:cubicBezTo>
                      <a:pt x="494" y="92"/>
                      <a:pt x="480" y="100"/>
                      <a:pt x="466" y="100"/>
                    </a:cubicBezTo>
                    <a:cubicBezTo>
                      <a:pt x="457" y="100"/>
                      <a:pt x="452" y="94"/>
                      <a:pt x="452" y="80"/>
                    </a:cubicBezTo>
                    <a:lnTo>
                      <a:pt x="496" y="80"/>
                    </a:lnTo>
                    <a:cubicBezTo>
                      <a:pt x="496" y="80"/>
                      <a:pt x="496" y="76"/>
                      <a:pt x="496" y="74"/>
                    </a:cubicBezTo>
                    <a:moveTo>
                      <a:pt x="413" y="114"/>
                    </a:moveTo>
                    <a:lnTo>
                      <a:pt x="413" y="54"/>
                    </a:lnTo>
                    <a:cubicBezTo>
                      <a:pt x="413" y="48"/>
                      <a:pt x="412" y="38"/>
                      <a:pt x="412" y="38"/>
                    </a:cubicBezTo>
                    <a:lnTo>
                      <a:pt x="393" y="38"/>
                    </a:lnTo>
                    <a:lnTo>
                      <a:pt x="393" y="114"/>
                    </a:lnTo>
                    <a:lnTo>
                      <a:pt x="413" y="114"/>
                    </a:lnTo>
                    <a:close/>
                    <a:moveTo>
                      <a:pt x="416" y="12"/>
                    </a:moveTo>
                    <a:cubicBezTo>
                      <a:pt x="416" y="6"/>
                      <a:pt x="411" y="0"/>
                      <a:pt x="403" y="0"/>
                    </a:cubicBezTo>
                    <a:cubicBezTo>
                      <a:pt x="395" y="0"/>
                      <a:pt x="391" y="6"/>
                      <a:pt x="391" y="12"/>
                    </a:cubicBezTo>
                    <a:cubicBezTo>
                      <a:pt x="391" y="18"/>
                      <a:pt x="395" y="24"/>
                      <a:pt x="403" y="24"/>
                    </a:cubicBezTo>
                    <a:cubicBezTo>
                      <a:pt x="411" y="24"/>
                      <a:pt x="416" y="18"/>
                      <a:pt x="416" y="12"/>
                    </a:cubicBezTo>
                    <a:close/>
                    <a:moveTo>
                      <a:pt x="353" y="88"/>
                    </a:moveTo>
                    <a:cubicBezTo>
                      <a:pt x="347" y="95"/>
                      <a:pt x="341" y="97"/>
                      <a:pt x="337" y="97"/>
                    </a:cubicBezTo>
                    <a:cubicBezTo>
                      <a:pt x="328" y="97"/>
                      <a:pt x="326" y="83"/>
                      <a:pt x="326" y="75"/>
                    </a:cubicBezTo>
                    <a:cubicBezTo>
                      <a:pt x="326" y="66"/>
                      <a:pt x="327" y="53"/>
                      <a:pt x="339" y="53"/>
                    </a:cubicBezTo>
                    <a:cubicBezTo>
                      <a:pt x="343" y="53"/>
                      <a:pt x="347" y="54"/>
                      <a:pt x="353" y="57"/>
                    </a:cubicBezTo>
                    <a:lnTo>
                      <a:pt x="353" y="88"/>
                    </a:lnTo>
                    <a:close/>
                    <a:moveTo>
                      <a:pt x="375" y="38"/>
                    </a:moveTo>
                    <a:lnTo>
                      <a:pt x="355" y="38"/>
                    </a:lnTo>
                    <a:cubicBezTo>
                      <a:pt x="355" y="38"/>
                      <a:pt x="354" y="40"/>
                      <a:pt x="354" y="42"/>
                    </a:cubicBezTo>
                    <a:cubicBezTo>
                      <a:pt x="352" y="41"/>
                      <a:pt x="345" y="36"/>
                      <a:pt x="336" y="36"/>
                    </a:cubicBezTo>
                    <a:cubicBezTo>
                      <a:pt x="315" y="36"/>
                      <a:pt x="305" y="53"/>
                      <a:pt x="305" y="75"/>
                    </a:cubicBezTo>
                    <a:cubicBezTo>
                      <a:pt x="305" y="90"/>
                      <a:pt x="310" y="114"/>
                      <a:pt x="332" y="114"/>
                    </a:cubicBezTo>
                    <a:cubicBezTo>
                      <a:pt x="344" y="114"/>
                      <a:pt x="352" y="105"/>
                      <a:pt x="353" y="103"/>
                    </a:cubicBezTo>
                    <a:cubicBezTo>
                      <a:pt x="353" y="103"/>
                      <a:pt x="353" y="108"/>
                      <a:pt x="353" y="110"/>
                    </a:cubicBezTo>
                    <a:lnTo>
                      <a:pt x="353" y="115"/>
                    </a:lnTo>
                    <a:cubicBezTo>
                      <a:pt x="353" y="117"/>
                      <a:pt x="353" y="119"/>
                      <a:pt x="352" y="121"/>
                    </a:cubicBezTo>
                    <a:cubicBezTo>
                      <a:pt x="351" y="125"/>
                      <a:pt x="347" y="128"/>
                      <a:pt x="338" y="128"/>
                    </a:cubicBezTo>
                    <a:cubicBezTo>
                      <a:pt x="323" y="128"/>
                      <a:pt x="310" y="122"/>
                      <a:pt x="310" y="122"/>
                    </a:cubicBezTo>
                    <a:lnTo>
                      <a:pt x="309" y="140"/>
                    </a:lnTo>
                    <a:cubicBezTo>
                      <a:pt x="309" y="140"/>
                      <a:pt x="320" y="146"/>
                      <a:pt x="338" y="146"/>
                    </a:cubicBezTo>
                    <a:cubicBezTo>
                      <a:pt x="357" y="146"/>
                      <a:pt x="369" y="139"/>
                      <a:pt x="373" y="125"/>
                    </a:cubicBezTo>
                    <a:cubicBezTo>
                      <a:pt x="373" y="122"/>
                      <a:pt x="373" y="116"/>
                      <a:pt x="373" y="112"/>
                    </a:cubicBezTo>
                    <a:lnTo>
                      <a:pt x="373" y="56"/>
                    </a:lnTo>
                    <a:cubicBezTo>
                      <a:pt x="373" y="47"/>
                      <a:pt x="375" y="38"/>
                      <a:pt x="375" y="38"/>
                    </a:cubicBezTo>
                    <a:moveTo>
                      <a:pt x="294" y="38"/>
                    </a:moveTo>
                    <a:cubicBezTo>
                      <a:pt x="294" y="38"/>
                      <a:pt x="293" y="37"/>
                      <a:pt x="285" y="37"/>
                    </a:cubicBezTo>
                    <a:cubicBezTo>
                      <a:pt x="279" y="37"/>
                      <a:pt x="273" y="42"/>
                      <a:pt x="270" y="45"/>
                    </a:cubicBezTo>
                    <a:cubicBezTo>
                      <a:pt x="270" y="46"/>
                      <a:pt x="269" y="47"/>
                      <a:pt x="269" y="47"/>
                    </a:cubicBezTo>
                    <a:cubicBezTo>
                      <a:pt x="269" y="43"/>
                      <a:pt x="268" y="38"/>
                      <a:pt x="268" y="38"/>
                    </a:cubicBezTo>
                    <a:lnTo>
                      <a:pt x="248" y="38"/>
                    </a:lnTo>
                    <a:cubicBezTo>
                      <a:pt x="248" y="38"/>
                      <a:pt x="249" y="47"/>
                      <a:pt x="249" y="56"/>
                    </a:cubicBezTo>
                    <a:lnTo>
                      <a:pt x="249" y="114"/>
                    </a:lnTo>
                    <a:lnTo>
                      <a:pt x="270" y="114"/>
                    </a:lnTo>
                    <a:lnTo>
                      <a:pt x="270" y="60"/>
                    </a:lnTo>
                    <a:cubicBezTo>
                      <a:pt x="275" y="56"/>
                      <a:pt x="279" y="53"/>
                      <a:pt x="282" y="53"/>
                    </a:cubicBezTo>
                    <a:cubicBezTo>
                      <a:pt x="288" y="53"/>
                      <a:pt x="292" y="54"/>
                      <a:pt x="292" y="54"/>
                    </a:cubicBezTo>
                    <a:lnTo>
                      <a:pt x="294" y="38"/>
                    </a:lnTo>
                    <a:close/>
                    <a:moveTo>
                      <a:pt x="211" y="68"/>
                    </a:moveTo>
                    <a:lnTo>
                      <a:pt x="187" y="68"/>
                    </a:lnTo>
                    <a:cubicBezTo>
                      <a:pt x="187" y="62"/>
                      <a:pt x="189" y="51"/>
                      <a:pt x="198" y="51"/>
                    </a:cubicBezTo>
                    <a:cubicBezTo>
                      <a:pt x="209" y="51"/>
                      <a:pt x="211" y="62"/>
                      <a:pt x="211" y="68"/>
                    </a:cubicBezTo>
                    <a:moveTo>
                      <a:pt x="231" y="74"/>
                    </a:moveTo>
                    <a:cubicBezTo>
                      <a:pt x="231" y="56"/>
                      <a:pt x="224" y="36"/>
                      <a:pt x="198" y="36"/>
                    </a:cubicBezTo>
                    <a:cubicBezTo>
                      <a:pt x="176" y="36"/>
                      <a:pt x="165" y="56"/>
                      <a:pt x="165" y="76"/>
                    </a:cubicBezTo>
                    <a:cubicBezTo>
                      <a:pt x="165" y="90"/>
                      <a:pt x="170" y="115"/>
                      <a:pt x="197" y="115"/>
                    </a:cubicBezTo>
                    <a:cubicBezTo>
                      <a:pt x="218" y="115"/>
                      <a:pt x="230" y="108"/>
                      <a:pt x="230" y="108"/>
                    </a:cubicBezTo>
                    <a:lnTo>
                      <a:pt x="229" y="92"/>
                    </a:lnTo>
                    <a:cubicBezTo>
                      <a:pt x="229" y="92"/>
                      <a:pt x="214" y="100"/>
                      <a:pt x="200" y="100"/>
                    </a:cubicBezTo>
                    <a:cubicBezTo>
                      <a:pt x="191" y="100"/>
                      <a:pt x="187" y="94"/>
                      <a:pt x="187" y="80"/>
                    </a:cubicBezTo>
                    <a:lnTo>
                      <a:pt x="231" y="80"/>
                    </a:lnTo>
                    <a:cubicBezTo>
                      <a:pt x="231" y="80"/>
                      <a:pt x="231" y="76"/>
                      <a:pt x="231" y="74"/>
                    </a:cubicBezTo>
                    <a:moveTo>
                      <a:pt x="148" y="114"/>
                    </a:moveTo>
                    <a:lnTo>
                      <a:pt x="148" y="62"/>
                    </a:lnTo>
                    <a:cubicBezTo>
                      <a:pt x="148" y="55"/>
                      <a:pt x="147" y="49"/>
                      <a:pt x="144" y="45"/>
                    </a:cubicBezTo>
                    <a:cubicBezTo>
                      <a:pt x="141" y="39"/>
                      <a:pt x="135" y="36"/>
                      <a:pt x="126" y="36"/>
                    </a:cubicBezTo>
                    <a:cubicBezTo>
                      <a:pt x="115" y="36"/>
                      <a:pt x="104" y="45"/>
                      <a:pt x="101" y="48"/>
                    </a:cubicBezTo>
                    <a:cubicBezTo>
                      <a:pt x="101" y="43"/>
                      <a:pt x="101" y="38"/>
                      <a:pt x="101" y="38"/>
                    </a:cubicBezTo>
                    <a:lnTo>
                      <a:pt x="81" y="38"/>
                    </a:lnTo>
                    <a:cubicBezTo>
                      <a:pt x="81" y="38"/>
                      <a:pt x="82" y="47"/>
                      <a:pt x="82" y="56"/>
                    </a:cubicBezTo>
                    <a:lnTo>
                      <a:pt x="82" y="114"/>
                    </a:lnTo>
                    <a:lnTo>
                      <a:pt x="102" y="114"/>
                    </a:lnTo>
                    <a:lnTo>
                      <a:pt x="102" y="62"/>
                    </a:lnTo>
                    <a:cubicBezTo>
                      <a:pt x="105" y="59"/>
                      <a:pt x="112" y="54"/>
                      <a:pt x="119" y="54"/>
                    </a:cubicBezTo>
                    <a:cubicBezTo>
                      <a:pt x="124" y="54"/>
                      <a:pt x="128" y="55"/>
                      <a:pt x="128" y="64"/>
                    </a:cubicBezTo>
                    <a:lnTo>
                      <a:pt x="128" y="114"/>
                    </a:lnTo>
                    <a:lnTo>
                      <a:pt x="148" y="114"/>
                    </a:lnTo>
                    <a:close/>
                    <a:moveTo>
                      <a:pt x="66" y="114"/>
                    </a:moveTo>
                    <a:lnTo>
                      <a:pt x="66" y="96"/>
                    </a:lnTo>
                    <a:lnTo>
                      <a:pt x="21" y="96"/>
                    </a:lnTo>
                    <a:lnTo>
                      <a:pt x="21" y="69"/>
                    </a:lnTo>
                    <a:lnTo>
                      <a:pt x="57" y="69"/>
                    </a:lnTo>
                    <a:lnTo>
                      <a:pt x="57" y="52"/>
                    </a:lnTo>
                    <a:lnTo>
                      <a:pt x="21" y="52"/>
                    </a:lnTo>
                    <a:lnTo>
                      <a:pt x="21" y="29"/>
                    </a:lnTo>
                    <a:lnTo>
                      <a:pt x="62" y="29"/>
                    </a:lnTo>
                    <a:lnTo>
                      <a:pt x="64" y="11"/>
                    </a:lnTo>
                    <a:lnTo>
                      <a:pt x="0" y="11"/>
                    </a:lnTo>
                    <a:lnTo>
                      <a:pt x="0" y="114"/>
                    </a:lnTo>
                    <a:lnTo>
                      <a:pt x="66" y="114"/>
                    </a:lnTo>
                    <a:close/>
                  </a:path>
                </a:pathLst>
              </a:custGeom>
              <a:solidFill>
                <a:srgbClr val="57687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2" name="Freeform 39">
                <a:extLst>
                  <a:ext uri="{FF2B5EF4-FFF2-40B4-BE49-F238E27FC236}">
                    <a16:creationId xmlns:a16="http://schemas.microsoft.com/office/drawing/2014/main" id="{4CEF5F7B-8974-4FCD-9C41-5380C50FCA3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29374" y="990263"/>
                <a:ext cx="354012" cy="273050"/>
              </a:xfrm>
              <a:custGeom>
                <a:avLst/>
                <a:gdLst>
                  <a:gd name="T0" fmla="*/ 0 w 443"/>
                  <a:gd name="T1" fmla="*/ 0 h 341"/>
                  <a:gd name="T2" fmla="*/ 0 w 443"/>
                  <a:gd name="T3" fmla="*/ 217 h 341"/>
                  <a:gd name="T4" fmla="*/ 131 w 443"/>
                  <a:gd name="T5" fmla="*/ 341 h 341"/>
                  <a:gd name="T6" fmla="*/ 222 w 443"/>
                  <a:gd name="T7" fmla="*/ 300 h 341"/>
                  <a:gd name="T8" fmla="*/ 313 w 443"/>
                  <a:gd name="T9" fmla="*/ 341 h 341"/>
                  <a:gd name="T10" fmla="*/ 443 w 443"/>
                  <a:gd name="T11" fmla="*/ 217 h 341"/>
                  <a:gd name="T12" fmla="*/ 443 w 443"/>
                  <a:gd name="T13" fmla="*/ 0 h 341"/>
                  <a:gd name="T14" fmla="*/ 365 w 443"/>
                  <a:gd name="T15" fmla="*/ 0 h 341"/>
                  <a:gd name="T16" fmla="*/ 365 w 443"/>
                  <a:gd name="T17" fmla="*/ 219 h 341"/>
                  <a:gd name="T18" fmla="*/ 313 w 443"/>
                  <a:gd name="T19" fmla="*/ 268 h 341"/>
                  <a:gd name="T20" fmla="*/ 261 w 443"/>
                  <a:gd name="T21" fmla="*/ 219 h 341"/>
                  <a:gd name="T22" fmla="*/ 261 w 443"/>
                  <a:gd name="T23" fmla="*/ 0 h 341"/>
                  <a:gd name="T24" fmla="*/ 183 w 443"/>
                  <a:gd name="T25" fmla="*/ 0 h 341"/>
                  <a:gd name="T26" fmla="*/ 183 w 443"/>
                  <a:gd name="T27" fmla="*/ 219 h 341"/>
                  <a:gd name="T28" fmla="*/ 131 w 443"/>
                  <a:gd name="T29" fmla="*/ 268 h 341"/>
                  <a:gd name="T30" fmla="*/ 79 w 443"/>
                  <a:gd name="T31" fmla="*/ 219 h 341"/>
                  <a:gd name="T32" fmla="*/ 79 w 443"/>
                  <a:gd name="T33" fmla="*/ 0 h 341"/>
                  <a:gd name="T34" fmla="*/ 0 w 443"/>
                  <a:gd name="T35" fmla="*/ 0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3" h="341">
                    <a:moveTo>
                      <a:pt x="0" y="0"/>
                    </a:moveTo>
                    <a:lnTo>
                      <a:pt x="0" y="217"/>
                    </a:lnTo>
                    <a:cubicBezTo>
                      <a:pt x="0" y="285"/>
                      <a:pt x="59" y="341"/>
                      <a:pt x="131" y="341"/>
                    </a:cubicBezTo>
                    <a:cubicBezTo>
                      <a:pt x="165" y="341"/>
                      <a:pt x="205" y="322"/>
                      <a:pt x="222" y="300"/>
                    </a:cubicBezTo>
                    <a:cubicBezTo>
                      <a:pt x="239" y="322"/>
                      <a:pt x="279" y="341"/>
                      <a:pt x="313" y="341"/>
                    </a:cubicBezTo>
                    <a:cubicBezTo>
                      <a:pt x="385" y="341"/>
                      <a:pt x="443" y="285"/>
                      <a:pt x="443" y="217"/>
                    </a:cubicBezTo>
                    <a:lnTo>
                      <a:pt x="443" y="0"/>
                    </a:lnTo>
                    <a:lnTo>
                      <a:pt x="365" y="0"/>
                    </a:lnTo>
                    <a:lnTo>
                      <a:pt x="365" y="219"/>
                    </a:lnTo>
                    <a:cubicBezTo>
                      <a:pt x="365" y="246"/>
                      <a:pt x="342" y="268"/>
                      <a:pt x="313" y="268"/>
                    </a:cubicBezTo>
                    <a:cubicBezTo>
                      <a:pt x="285" y="268"/>
                      <a:pt x="261" y="246"/>
                      <a:pt x="261" y="219"/>
                    </a:cubicBezTo>
                    <a:lnTo>
                      <a:pt x="261" y="0"/>
                    </a:lnTo>
                    <a:lnTo>
                      <a:pt x="183" y="0"/>
                    </a:lnTo>
                    <a:lnTo>
                      <a:pt x="183" y="219"/>
                    </a:lnTo>
                    <a:cubicBezTo>
                      <a:pt x="183" y="246"/>
                      <a:pt x="159" y="268"/>
                      <a:pt x="131" y="268"/>
                    </a:cubicBezTo>
                    <a:cubicBezTo>
                      <a:pt x="102" y="268"/>
                      <a:pt x="79" y="246"/>
                      <a:pt x="79" y="219"/>
                    </a:cubicBez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3" name="Freeform 40">
                <a:extLst>
                  <a:ext uri="{FF2B5EF4-FFF2-40B4-BE49-F238E27FC236}">
                    <a16:creationId xmlns:a16="http://schemas.microsoft.com/office/drawing/2014/main" id="{4100FC75-2C40-405F-93BE-9CB80383F5F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30924" y="982325"/>
                <a:ext cx="276225" cy="277813"/>
              </a:xfrm>
              <a:custGeom>
                <a:avLst/>
                <a:gdLst>
                  <a:gd name="T0" fmla="*/ 345 w 347"/>
                  <a:gd name="T1" fmla="*/ 199 h 348"/>
                  <a:gd name="T2" fmla="*/ 347 w 347"/>
                  <a:gd name="T3" fmla="*/ 174 h 348"/>
                  <a:gd name="T4" fmla="*/ 174 w 347"/>
                  <a:gd name="T5" fmla="*/ 0 h 348"/>
                  <a:gd name="T6" fmla="*/ 0 w 347"/>
                  <a:gd name="T7" fmla="*/ 174 h 348"/>
                  <a:gd name="T8" fmla="*/ 174 w 347"/>
                  <a:gd name="T9" fmla="*/ 348 h 348"/>
                  <a:gd name="T10" fmla="*/ 336 w 347"/>
                  <a:gd name="T11" fmla="*/ 237 h 348"/>
                  <a:gd name="T12" fmla="*/ 254 w 347"/>
                  <a:gd name="T13" fmla="*/ 237 h 348"/>
                  <a:gd name="T14" fmla="*/ 174 w 347"/>
                  <a:gd name="T15" fmla="*/ 276 h 348"/>
                  <a:gd name="T16" fmla="*/ 71 w 347"/>
                  <a:gd name="T17" fmla="*/ 174 h 348"/>
                  <a:gd name="T18" fmla="*/ 174 w 347"/>
                  <a:gd name="T19" fmla="*/ 71 h 348"/>
                  <a:gd name="T20" fmla="*/ 265 w 347"/>
                  <a:gd name="T21" fmla="*/ 128 h 348"/>
                  <a:gd name="T22" fmla="*/ 141 w 347"/>
                  <a:gd name="T23" fmla="*/ 128 h 348"/>
                  <a:gd name="T24" fmla="*/ 141 w 347"/>
                  <a:gd name="T25" fmla="*/ 199 h 348"/>
                  <a:gd name="T26" fmla="*/ 345 w 347"/>
                  <a:gd name="T27" fmla="*/ 199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7" h="348">
                    <a:moveTo>
                      <a:pt x="345" y="199"/>
                    </a:moveTo>
                    <a:cubicBezTo>
                      <a:pt x="347" y="191"/>
                      <a:pt x="347" y="183"/>
                      <a:pt x="347" y="174"/>
                    </a:cubicBezTo>
                    <a:cubicBezTo>
                      <a:pt x="347" y="78"/>
                      <a:pt x="270" y="0"/>
                      <a:pt x="174" y="0"/>
                    </a:cubicBezTo>
                    <a:cubicBezTo>
                      <a:pt x="78" y="0"/>
                      <a:pt x="0" y="78"/>
                      <a:pt x="0" y="174"/>
                    </a:cubicBezTo>
                    <a:cubicBezTo>
                      <a:pt x="0" y="270"/>
                      <a:pt x="78" y="348"/>
                      <a:pt x="174" y="348"/>
                    </a:cubicBezTo>
                    <a:cubicBezTo>
                      <a:pt x="248" y="348"/>
                      <a:pt x="310" y="301"/>
                      <a:pt x="336" y="237"/>
                    </a:cubicBezTo>
                    <a:lnTo>
                      <a:pt x="254" y="237"/>
                    </a:lnTo>
                    <a:cubicBezTo>
                      <a:pt x="235" y="260"/>
                      <a:pt x="206" y="276"/>
                      <a:pt x="174" y="276"/>
                    </a:cubicBezTo>
                    <a:cubicBezTo>
                      <a:pt x="117" y="276"/>
                      <a:pt x="71" y="230"/>
                      <a:pt x="71" y="174"/>
                    </a:cubicBezTo>
                    <a:cubicBezTo>
                      <a:pt x="71" y="117"/>
                      <a:pt x="117" y="71"/>
                      <a:pt x="174" y="71"/>
                    </a:cubicBezTo>
                    <a:cubicBezTo>
                      <a:pt x="214" y="71"/>
                      <a:pt x="248" y="95"/>
                      <a:pt x="265" y="128"/>
                    </a:cubicBezTo>
                    <a:lnTo>
                      <a:pt x="141" y="128"/>
                    </a:lnTo>
                    <a:lnTo>
                      <a:pt x="141" y="199"/>
                    </a:lnTo>
                    <a:lnTo>
                      <a:pt x="345" y="199"/>
                    </a:ln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4" name="Freeform 41">
                <a:extLst>
                  <a:ext uri="{FF2B5EF4-FFF2-40B4-BE49-F238E27FC236}">
                    <a16:creationId xmlns:a16="http://schemas.microsoft.com/office/drawing/2014/main" id="{E48D61B7-F344-482F-8482-BB395833AC8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34061" y="868025"/>
                <a:ext cx="276225" cy="395288"/>
              </a:xfrm>
              <a:custGeom>
                <a:avLst/>
                <a:gdLst>
                  <a:gd name="T0" fmla="*/ 273 w 347"/>
                  <a:gd name="T1" fmla="*/ 0 h 496"/>
                  <a:gd name="T2" fmla="*/ 273 w 347"/>
                  <a:gd name="T3" fmla="*/ 184 h 496"/>
                  <a:gd name="T4" fmla="*/ 173 w 347"/>
                  <a:gd name="T5" fmla="*/ 150 h 496"/>
                  <a:gd name="T6" fmla="*/ 0 w 347"/>
                  <a:gd name="T7" fmla="*/ 323 h 496"/>
                  <a:gd name="T8" fmla="*/ 173 w 347"/>
                  <a:gd name="T9" fmla="*/ 496 h 496"/>
                  <a:gd name="T10" fmla="*/ 273 w 347"/>
                  <a:gd name="T11" fmla="*/ 463 h 496"/>
                  <a:gd name="T12" fmla="*/ 273 w 347"/>
                  <a:gd name="T13" fmla="*/ 492 h 496"/>
                  <a:gd name="T14" fmla="*/ 347 w 347"/>
                  <a:gd name="T15" fmla="*/ 492 h 496"/>
                  <a:gd name="T16" fmla="*/ 347 w 347"/>
                  <a:gd name="T17" fmla="*/ 0 h 496"/>
                  <a:gd name="T18" fmla="*/ 273 w 347"/>
                  <a:gd name="T19" fmla="*/ 0 h 496"/>
                  <a:gd name="T20" fmla="*/ 196 w 347"/>
                  <a:gd name="T21" fmla="*/ 421 h 496"/>
                  <a:gd name="T22" fmla="*/ 173 w 347"/>
                  <a:gd name="T23" fmla="*/ 425 h 496"/>
                  <a:gd name="T24" fmla="*/ 134 w 347"/>
                  <a:gd name="T25" fmla="*/ 416 h 496"/>
                  <a:gd name="T26" fmla="*/ 71 w 347"/>
                  <a:gd name="T27" fmla="*/ 321 h 496"/>
                  <a:gd name="T28" fmla="*/ 173 w 347"/>
                  <a:gd name="T29" fmla="*/ 219 h 496"/>
                  <a:gd name="T30" fmla="*/ 276 w 347"/>
                  <a:gd name="T31" fmla="*/ 321 h 496"/>
                  <a:gd name="T32" fmla="*/ 196 w 347"/>
                  <a:gd name="T33" fmla="*/ 421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7" h="496">
                    <a:moveTo>
                      <a:pt x="273" y="0"/>
                    </a:moveTo>
                    <a:lnTo>
                      <a:pt x="273" y="184"/>
                    </a:lnTo>
                    <a:cubicBezTo>
                      <a:pt x="245" y="163"/>
                      <a:pt x="211" y="150"/>
                      <a:pt x="173" y="150"/>
                    </a:cubicBezTo>
                    <a:cubicBezTo>
                      <a:pt x="77" y="150"/>
                      <a:pt x="0" y="227"/>
                      <a:pt x="0" y="323"/>
                    </a:cubicBezTo>
                    <a:cubicBezTo>
                      <a:pt x="0" y="418"/>
                      <a:pt x="77" y="496"/>
                      <a:pt x="173" y="496"/>
                    </a:cubicBezTo>
                    <a:cubicBezTo>
                      <a:pt x="211" y="496"/>
                      <a:pt x="245" y="484"/>
                      <a:pt x="273" y="463"/>
                    </a:cubicBezTo>
                    <a:lnTo>
                      <a:pt x="273" y="492"/>
                    </a:lnTo>
                    <a:lnTo>
                      <a:pt x="347" y="492"/>
                    </a:lnTo>
                    <a:lnTo>
                      <a:pt x="347" y="0"/>
                    </a:lnTo>
                    <a:lnTo>
                      <a:pt x="273" y="0"/>
                    </a:lnTo>
                    <a:close/>
                    <a:moveTo>
                      <a:pt x="196" y="421"/>
                    </a:moveTo>
                    <a:cubicBezTo>
                      <a:pt x="189" y="423"/>
                      <a:pt x="181" y="425"/>
                      <a:pt x="173" y="425"/>
                    </a:cubicBezTo>
                    <a:cubicBezTo>
                      <a:pt x="159" y="425"/>
                      <a:pt x="146" y="421"/>
                      <a:pt x="134" y="416"/>
                    </a:cubicBezTo>
                    <a:cubicBezTo>
                      <a:pt x="97" y="401"/>
                      <a:pt x="71" y="364"/>
                      <a:pt x="71" y="321"/>
                    </a:cubicBezTo>
                    <a:cubicBezTo>
                      <a:pt x="71" y="265"/>
                      <a:pt x="117" y="219"/>
                      <a:pt x="173" y="219"/>
                    </a:cubicBezTo>
                    <a:cubicBezTo>
                      <a:pt x="230" y="219"/>
                      <a:pt x="276" y="265"/>
                      <a:pt x="276" y="321"/>
                    </a:cubicBezTo>
                    <a:cubicBezTo>
                      <a:pt x="276" y="370"/>
                      <a:pt x="242" y="411"/>
                      <a:pt x="196" y="421"/>
                    </a:cubicBez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45" name="Freeform 42">
                <a:extLst>
                  <a:ext uri="{FF2B5EF4-FFF2-40B4-BE49-F238E27FC236}">
                    <a16:creationId xmlns:a16="http://schemas.microsoft.com/office/drawing/2014/main" id="{6EDF043F-3051-477E-A575-4F1C1771ACC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868025"/>
                <a:ext cx="277812" cy="395288"/>
              </a:xfrm>
              <a:custGeom>
                <a:avLst/>
                <a:gdLst>
                  <a:gd name="T0" fmla="*/ 175 w 348"/>
                  <a:gd name="T1" fmla="*/ 150 h 496"/>
                  <a:gd name="T2" fmla="*/ 75 w 348"/>
                  <a:gd name="T3" fmla="*/ 184 h 496"/>
                  <a:gd name="T4" fmla="*/ 75 w 348"/>
                  <a:gd name="T5" fmla="*/ 0 h 496"/>
                  <a:gd name="T6" fmla="*/ 0 w 348"/>
                  <a:gd name="T7" fmla="*/ 0 h 496"/>
                  <a:gd name="T8" fmla="*/ 0 w 348"/>
                  <a:gd name="T9" fmla="*/ 492 h 496"/>
                  <a:gd name="T10" fmla="*/ 75 w 348"/>
                  <a:gd name="T11" fmla="*/ 492 h 496"/>
                  <a:gd name="T12" fmla="*/ 75 w 348"/>
                  <a:gd name="T13" fmla="*/ 463 h 496"/>
                  <a:gd name="T14" fmla="*/ 175 w 348"/>
                  <a:gd name="T15" fmla="*/ 496 h 496"/>
                  <a:gd name="T16" fmla="*/ 348 w 348"/>
                  <a:gd name="T17" fmla="*/ 323 h 496"/>
                  <a:gd name="T18" fmla="*/ 175 w 348"/>
                  <a:gd name="T19" fmla="*/ 150 h 496"/>
                  <a:gd name="T20" fmla="*/ 214 w 348"/>
                  <a:gd name="T21" fmla="*/ 416 h 496"/>
                  <a:gd name="T22" fmla="*/ 175 w 348"/>
                  <a:gd name="T23" fmla="*/ 425 h 496"/>
                  <a:gd name="T24" fmla="*/ 152 w 348"/>
                  <a:gd name="T25" fmla="*/ 421 h 496"/>
                  <a:gd name="T26" fmla="*/ 72 w 348"/>
                  <a:gd name="T27" fmla="*/ 321 h 496"/>
                  <a:gd name="T28" fmla="*/ 175 w 348"/>
                  <a:gd name="T29" fmla="*/ 219 h 496"/>
                  <a:gd name="T30" fmla="*/ 277 w 348"/>
                  <a:gd name="T31" fmla="*/ 321 h 496"/>
                  <a:gd name="T32" fmla="*/ 214 w 348"/>
                  <a:gd name="T33" fmla="*/ 41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8" h="496">
                    <a:moveTo>
                      <a:pt x="175" y="150"/>
                    </a:moveTo>
                    <a:cubicBezTo>
                      <a:pt x="137" y="150"/>
                      <a:pt x="103" y="163"/>
                      <a:pt x="75" y="184"/>
                    </a:cubicBezTo>
                    <a:lnTo>
                      <a:pt x="75" y="0"/>
                    </a:lnTo>
                    <a:lnTo>
                      <a:pt x="0" y="0"/>
                    </a:lnTo>
                    <a:lnTo>
                      <a:pt x="0" y="492"/>
                    </a:lnTo>
                    <a:lnTo>
                      <a:pt x="75" y="492"/>
                    </a:lnTo>
                    <a:lnTo>
                      <a:pt x="75" y="463"/>
                    </a:lnTo>
                    <a:cubicBezTo>
                      <a:pt x="103" y="484"/>
                      <a:pt x="137" y="496"/>
                      <a:pt x="175" y="496"/>
                    </a:cubicBezTo>
                    <a:cubicBezTo>
                      <a:pt x="271" y="496"/>
                      <a:pt x="348" y="418"/>
                      <a:pt x="348" y="323"/>
                    </a:cubicBezTo>
                    <a:cubicBezTo>
                      <a:pt x="348" y="227"/>
                      <a:pt x="271" y="150"/>
                      <a:pt x="175" y="150"/>
                    </a:cubicBezTo>
                    <a:close/>
                    <a:moveTo>
                      <a:pt x="214" y="416"/>
                    </a:moveTo>
                    <a:cubicBezTo>
                      <a:pt x="202" y="421"/>
                      <a:pt x="189" y="425"/>
                      <a:pt x="175" y="425"/>
                    </a:cubicBezTo>
                    <a:cubicBezTo>
                      <a:pt x="167" y="425"/>
                      <a:pt x="159" y="423"/>
                      <a:pt x="152" y="421"/>
                    </a:cubicBezTo>
                    <a:cubicBezTo>
                      <a:pt x="106" y="411"/>
                      <a:pt x="72" y="370"/>
                      <a:pt x="72" y="321"/>
                    </a:cubicBezTo>
                    <a:cubicBezTo>
                      <a:pt x="72" y="265"/>
                      <a:pt x="118" y="219"/>
                      <a:pt x="175" y="219"/>
                    </a:cubicBezTo>
                    <a:cubicBezTo>
                      <a:pt x="231" y="219"/>
                      <a:pt x="277" y="265"/>
                      <a:pt x="277" y="321"/>
                    </a:cubicBezTo>
                    <a:cubicBezTo>
                      <a:pt x="277" y="364"/>
                      <a:pt x="251" y="401"/>
                      <a:pt x="214" y="416"/>
                    </a:cubicBez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83A9B02A-CD81-44D9-B1D4-7729CD89762C}"/>
              </a:ext>
            </a:extLst>
          </p:cNvPr>
          <p:cNvGrpSpPr/>
          <p:nvPr userDrawn="1"/>
        </p:nvGrpSpPr>
        <p:grpSpPr>
          <a:xfrm>
            <a:off x="7273033" y="1944379"/>
            <a:ext cx="1799182" cy="576000"/>
            <a:chOff x="7273850" y="1905816"/>
            <a:chExt cx="1799182" cy="553594"/>
          </a:xfrm>
        </p:grpSpPr>
        <p:sp>
          <p:nvSpPr>
            <p:cNvPr id="47" name="Rectangle 64">
              <a:extLst>
                <a:ext uri="{FF2B5EF4-FFF2-40B4-BE49-F238E27FC236}">
                  <a16:creationId xmlns:a16="http://schemas.microsoft.com/office/drawing/2014/main" id="{2A967664-7949-4F66-BCAC-2D1E548EF8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3850" y="1905816"/>
              <a:ext cx="1799182" cy="5535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65">
              <a:extLst>
                <a:ext uri="{FF2B5EF4-FFF2-40B4-BE49-F238E27FC236}">
                  <a16:creationId xmlns:a16="http://schemas.microsoft.com/office/drawing/2014/main" id="{C79F4BF8-8954-475A-85FD-6B3A2942E4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2238" y="2056941"/>
              <a:ext cx="1126278" cy="92266"/>
            </a:xfrm>
            <a:custGeom>
              <a:avLst/>
              <a:gdLst>
                <a:gd name="T0" fmla="*/ 1371 w 1412"/>
                <a:gd name="T1" fmla="*/ 50 h 116"/>
                <a:gd name="T2" fmla="*/ 1327 w 1412"/>
                <a:gd name="T3" fmla="*/ 28 h 116"/>
                <a:gd name="T4" fmla="*/ 1355 w 1412"/>
                <a:gd name="T5" fmla="*/ 14 h 116"/>
                <a:gd name="T6" fmla="*/ 1409 w 1412"/>
                <a:gd name="T7" fmla="*/ 50 h 116"/>
                <a:gd name="T8" fmla="*/ 1259 w 1412"/>
                <a:gd name="T9" fmla="*/ 99 h 116"/>
                <a:gd name="T10" fmla="*/ 1256 w 1412"/>
                <a:gd name="T11" fmla="*/ 91 h 116"/>
                <a:gd name="T12" fmla="*/ 1258 w 1412"/>
                <a:gd name="T13" fmla="*/ 51 h 116"/>
                <a:gd name="T14" fmla="*/ 1287 w 1412"/>
                <a:gd name="T15" fmla="*/ 114 h 116"/>
                <a:gd name="T16" fmla="*/ 1171 w 1412"/>
                <a:gd name="T17" fmla="*/ 2 h 116"/>
                <a:gd name="T18" fmla="*/ 1201 w 1412"/>
                <a:gd name="T19" fmla="*/ 114 h 116"/>
                <a:gd name="T20" fmla="*/ 1153 w 1412"/>
                <a:gd name="T21" fmla="*/ 2 h 116"/>
                <a:gd name="T22" fmla="*/ 1128 w 1412"/>
                <a:gd name="T23" fmla="*/ 55 h 116"/>
                <a:gd name="T24" fmla="*/ 1130 w 1412"/>
                <a:gd name="T25" fmla="*/ 94 h 116"/>
                <a:gd name="T26" fmla="*/ 1012 w 1412"/>
                <a:gd name="T27" fmla="*/ 93 h 116"/>
                <a:gd name="T28" fmla="*/ 1030 w 1412"/>
                <a:gd name="T29" fmla="*/ 80 h 116"/>
                <a:gd name="T30" fmla="*/ 1062 w 1412"/>
                <a:gd name="T31" fmla="*/ 43 h 116"/>
                <a:gd name="T32" fmla="*/ 1035 w 1412"/>
                <a:gd name="T33" fmla="*/ 66 h 116"/>
                <a:gd name="T34" fmla="*/ 1046 w 1412"/>
                <a:gd name="T35" fmla="*/ 114 h 116"/>
                <a:gd name="T36" fmla="*/ 958 w 1412"/>
                <a:gd name="T37" fmla="*/ 36 h 116"/>
                <a:gd name="T38" fmla="*/ 986 w 1412"/>
                <a:gd name="T39" fmla="*/ 101 h 116"/>
                <a:gd name="T40" fmla="*/ 958 w 1412"/>
                <a:gd name="T41" fmla="*/ 99 h 116"/>
                <a:gd name="T42" fmla="*/ 934 w 1412"/>
                <a:gd name="T43" fmla="*/ 34 h 116"/>
                <a:gd name="T44" fmla="*/ 895 w 1412"/>
                <a:gd name="T45" fmla="*/ 114 h 116"/>
                <a:gd name="T46" fmla="*/ 855 w 1412"/>
                <a:gd name="T47" fmla="*/ 19 h 116"/>
                <a:gd name="T48" fmla="*/ 728 w 1412"/>
                <a:gd name="T49" fmla="*/ 36 h 116"/>
                <a:gd name="T50" fmla="*/ 775 w 1412"/>
                <a:gd name="T51" fmla="*/ 36 h 116"/>
                <a:gd name="T52" fmla="*/ 821 w 1412"/>
                <a:gd name="T53" fmla="*/ 36 h 116"/>
                <a:gd name="T54" fmla="*/ 780 w 1412"/>
                <a:gd name="T55" fmla="*/ 67 h 116"/>
                <a:gd name="T56" fmla="*/ 692 w 1412"/>
                <a:gd name="T57" fmla="*/ 50 h 116"/>
                <a:gd name="T58" fmla="*/ 693 w 1412"/>
                <a:gd name="T59" fmla="*/ 66 h 116"/>
                <a:gd name="T60" fmla="*/ 607 w 1412"/>
                <a:gd name="T61" fmla="*/ 68 h 116"/>
                <a:gd name="T62" fmla="*/ 650 w 1412"/>
                <a:gd name="T63" fmla="*/ 44 h 116"/>
                <a:gd name="T64" fmla="*/ 649 w 1412"/>
                <a:gd name="T65" fmla="*/ 96 h 116"/>
                <a:gd name="T66" fmla="*/ 527 w 1412"/>
                <a:gd name="T67" fmla="*/ 93 h 116"/>
                <a:gd name="T68" fmla="*/ 545 w 1412"/>
                <a:gd name="T69" fmla="*/ 80 h 116"/>
                <a:gd name="T70" fmla="*/ 577 w 1412"/>
                <a:gd name="T71" fmla="*/ 43 h 116"/>
                <a:gd name="T72" fmla="*/ 550 w 1412"/>
                <a:gd name="T73" fmla="*/ 66 h 116"/>
                <a:gd name="T74" fmla="*/ 561 w 1412"/>
                <a:gd name="T75" fmla="*/ 114 h 116"/>
                <a:gd name="T76" fmla="*/ 490 w 1412"/>
                <a:gd name="T77" fmla="*/ 99 h 116"/>
                <a:gd name="T78" fmla="*/ 457 w 1412"/>
                <a:gd name="T79" fmla="*/ 66 h 116"/>
                <a:gd name="T80" fmla="*/ 483 w 1412"/>
                <a:gd name="T81" fmla="*/ 48 h 116"/>
                <a:gd name="T82" fmla="*/ 503 w 1412"/>
                <a:gd name="T83" fmla="*/ 76 h 116"/>
                <a:gd name="T84" fmla="*/ 451 w 1412"/>
                <a:gd name="T85" fmla="*/ 105 h 116"/>
                <a:gd name="T86" fmla="*/ 405 w 1412"/>
                <a:gd name="T87" fmla="*/ 78 h 116"/>
                <a:gd name="T88" fmla="*/ 415 w 1412"/>
                <a:gd name="T89" fmla="*/ 53 h 116"/>
                <a:gd name="T90" fmla="*/ 429 w 1412"/>
                <a:gd name="T91" fmla="*/ 43 h 116"/>
                <a:gd name="T92" fmla="*/ 379 w 1412"/>
                <a:gd name="T93" fmla="*/ 109 h 116"/>
                <a:gd name="T94" fmla="*/ 279 w 1412"/>
                <a:gd name="T95" fmla="*/ 79 h 116"/>
                <a:gd name="T96" fmla="*/ 334 w 1412"/>
                <a:gd name="T97" fmla="*/ 79 h 116"/>
                <a:gd name="T98" fmla="*/ 303 w 1412"/>
                <a:gd name="T99" fmla="*/ 35 h 116"/>
                <a:gd name="T100" fmla="*/ 182 w 1412"/>
                <a:gd name="T101" fmla="*/ 53 h 116"/>
                <a:gd name="T102" fmla="*/ 156 w 1412"/>
                <a:gd name="T103" fmla="*/ 37 h 116"/>
                <a:gd name="T104" fmla="*/ 158 w 1412"/>
                <a:gd name="T105" fmla="*/ 96 h 116"/>
                <a:gd name="T106" fmla="*/ 144 w 1412"/>
                <a:gd name="T107" fmla="*/ 105 h 116"/>
                <a:gd name="T108" fmla="*/ 106 w 1412"/>
                <a:gd name="T109" fmla="*/ 22 h 116"/>
                <a:gd name="T110" fmla="*/ 106 w 1412"/>
                <a:gd name="T111" fmla="*/ 22 h 116"/>
                <a:gd name="T112" fmla="*/ 26 w 1412"/>
                <a:gd name="T113" fmla="*/ 99 h 116"/>
                <a:gd name="T114" fmla="*/ 28 w 1412"/>
                <a:gd name="T115" fmla="*/ 11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12" h="116">
                  <a:moveTo>
                    <a:pt x="1412" y="113"/>
                  </a:moveTo>
                  <a:cubicBezTo>
                    <a:pt x="1410" y="113"/>
                    <a:pt x="1407" y="114"/>
                    <a:pt x="1405" y="115"/>
                  </a:cubicBezTo>
                  <a:cubicBezTo>
                    <a:pt x="1402" y="115"/>
                    <a:pt x="1399" y="116"/>
                    <a:pt x="1396" y="116"/>
                  </a:cubicBezTo>
                  <a:cubicBezTo>
                    <a:pt x="1391" y="116"/>
                    <a:pt x="1388" y="115"/>
                    <a:pt x="1385" y="114"/>
                  </a:cubicBezTo>
                  <a:cubicBezTo>
                    <a:pt x="1381" y="112"/>
                    <a:pt x="1379" y="110"/>
                    <a:pt x="1377" y="108"/>
                  </a:cubicBezTo>
                  <a:cubicBezTo>
                    <a:pt x="1375" y="105"/>
                    <a:pt x="1374" y="102"/>
                    <a:pt x="1373" y="99"/>
                  </a:cubicBezTo>
                  <a:cubicBezTo>
                    <a:pt x="1372" y="95"/>
                    <a:pt x="1371" y="92"/>
                    <a:pt x="1371" y="87"/>
                  </a:cubicBezTo>
                  <a:lnTo>
                    <a:pt x="1371" y="50"/>
                  </a:lnTo>
                  <a:lnTo>
                    <a:pt x="1345" y="50"/>
                  </a:lnTo>
                  <a:lnTo>
                    <a:pt x="1345" y="114"/>
                  </a:lnTo>
                  <a:lnTo>
                    <a:pt x="1327" y="114"/>
                  </a:lnTo>
                  <a:lnTo>
                    <a:pt x="1327" y="50"/>
                  </a:lnTo>
                  <a:lnTo>
                    <a:pt x="1317" y="50"/>
                  </a:lnTo>
                  <a:lnTo>
                    <a:pt x="1317" y="37"/>
                  </a:lnTo>
                  <a:lnTo>
                    <a:pt x="1327" y="36"/>
                  </a:lnTo>
                  <a:lnTo>
                    <a:pt x="1327" y="28"/>
                  </a:lnTo>
                  <a:cubicBezTo>
                    <a:pt x="1327" y="24"/>
                    <a:pt x="1328" y="20"/>
                    <a:pt x="1329" y="17"/>
                  </a:cubicBezTo>
                  <a:cubicBezTo>
                    <a:pt x="1330" y="13"/>
                    <a:pt x="1331" y="10"/>
                    <a:pt x="1333" y="8"/>
                  </a:cubicBezTo>
                  <a:cubicBezTo>
                    <a:pt x="1335" y="5"/>
                    <a:pt x="1338" y="3"/>
                    <a:pt x="1341" y="2"/>
                  </a:cubicBezTo>
                  <a:cubicBezTo>
                    <a:pt x="1345" y="1"/>
                    <a:pt x="1348" y="0"/>
                    <a:pt x="1353" y="0"/>
                  </a:cubicBezTo>
                  <a:cubicBezTo>
                    <a:pt x="1356" y="0"/>
                    <a:pt x="1358" y="0"/>
                    <a:pt x="1361" y="1"/>
                  </a:cubicBezTo>
                  <a:cubicBezTo>
                    <a:pt x="1363" y="1"/>
                    <a:pt x="1366" y="2"/>
                    <a:pt x="1367" y="3"/>
                  </a:cubicBezTo>
                  <a:lnTo>
                    <a:pt x="1364" y="16"/>
                  </a:lnTo>
                  <a:cubicBezTo>
                    <a:pt x="1361" y="15"/>
                    <a:pt x="1358" y="14"/>
                    <a:pt x="1355" y="14"/>
                  </a:cubicBezTo>
                  <a:cubicBezTo>
                    <a:pt x="1349" y="14"/>
                    <a:pt x="1345" y="19"/>
                    <a:pt x="1345" y="28"/>
                  </a:cubicBezTo>
                  <a:lnTo>
                    <a:pt x="1345" y="36"/>
                  </a:lnTo>
                  <a:lnTo>
                    <a:pt x="1372" y="36"/>
                  </a:lnTo>
                  <a:lnTo>
                    <a:pt x="1374" y="15"/>
                  </a:lnTo>
                  <a:lnTo>
                    <a:pt x="1389" y="15"/>
                  </a:lnTo>
                  <a:lnTo>
                    <a:pt x="1389" y="36"/>
                  </a:lnTo>
                  <a:lnTo>
                    <a:pt x="1409" y="36"/>
                  </a:lnTo>
                  <a:lnTo>
                    <a:pt x="1409" y="50"/>
                  </a:lnTo>
                  <a:lnTo>
                    <a:pt x="1389" y="50"/>
                  </a:lnTo>
                  <a:lnTo>
                    <a:pt x="1389" y="87"/>
                  </a:lnTo>
                  <a:cubicBezTo>
                    <a:pt x="1389" y="96"/>
                    <a:pt x="1393" y="101"/>
                    <a:pt x="1401" y="101"/>
                  </a:cubicBezTo>
                  <a:cubicBezTo>
                    <a:pt x="1402" y="101"/>
                    <a:pt x="1403" y="101"/>
                    <a:pt x="1405" y="101"/>
                  </a:cubicBezTo>
                  <a:cubicBezTo>
                    <a:pt x="1406" y="100"/>
                    <a:pt x="1407" y="100"/>
                    <a:pt x="1409" y="99"/>
                  </a:cubicBezTo>
                  <a:lnTo>
                    <a:pt x="1412" y="113"/>
                  </a:lnTo>
                  <a:close/>
                  <a:moveTo>
                    <a:pt x="1256" y="91"/>
                  </a:moveTo>
                  <a:cubicBezTo>
                    <a:pt x="1256" y="95"/>
                    <a:pt x="1257" y="97"/>
                    <a:pt x="1259" y="99"/>
                  </a:cubicBezTo>
                  <a:cubicBezTo>
                    <a:pt x="1261" y="101"/>
                    <a:pt x="1264" y="101"/>
                    <a:pt x="1267" y="101"/>
                  </a:cubicBezTo>
                  <a:cubicBezTo>
                    <a:pt x="1270" y="101"/>
                    <a:pt x="1273" y="101"/>
                    <a:pt x="1276" y="99"/>
                  </a:cubicBezTo>
                  <a:cubicBezTo>
                    <a:pt x="1278" y="98"/>
                    <a:pt x="1281" y="96"/>
                    <a:pt x="1284" y="93"/>
                  </a:cubicBezTo>
                  <a:lnTo>
                    <a:pt x="1284" y="75"/>
                  </a:lnTo>
                  <a:cubicBezTo>
                    <a:pt x="1278" y="76"/>
                    <a:pt x="1274" y="77"/>
                    <a:pt x="1270" y="78"/>
                  </a:cubicBezTo>
                  <a:cubicBezTo>
                    <a:pt x="1267" y="79"/>
                    <a:pt x="1264" y="80"/>
                    <a:pt x="1262" y="81"/>
                  </a:cubicBezTo>
                  <a:cubicBezTo>
                    <a:pt x="1260" y="83"/>
                    <a:pt x="1258" y="84"/>
                    <a:pt x="1257" y="86"/>
                  </a:cubicBezTo>
                  <a:cubicBezTo>
                    <a:pt x="1256" y="88"/>
                    <a:pt x="1256" y="89"/>
                    <a:pt x="1256" y="91"/>
                  </a:cubicBezTo>
                  <a:close/>
                  <a:moveTo>
                    <a:pt x="1238" y="93"/>
                  </a:moveTo>
                  <a:cubicBezTo>
                    <a:pt x="1238" y="84"/>
                    <a:pt x="1242" y="78"/>
                    <a:pt x="1249" y="73"/>
                  </a:cubicBezTo>
                  <a:cubicBezTo>
                    <a:pt x="1256" y="69"/>
                    <a:pt x="1268" y="66"/>
                    <a:pt x="1284" y="64"/>
                  </a:cubicBezTo>
                  <a:cubicBezTo>
                    <a:pt x="1284" y="62"/>
                    <a:pt x="1283" y="60"/>
                    <a:pt x="1283" y="58"/>
                  </a:cubicBezTo>
                  <a:cubicBezTo>
                    <a:pt x="1282" y="56"/>
                    <a:pt x="1282" y="55"/>
                    <a:pt x="1281" y="53"/>
                  </a:cubicBezTo>
                  <a:cubicBezTo>
                    <a:pt x="1279" y="52"/>
                    <a:pt x="1278" y="51"/>
                    <a:pt x="1276" y="50"/>
                  </a:cubicBezTo>
                  <a:cubicBezTo>
                    <a:pt x="1274" y="49"/>
                    <a:pt x="1272" y="49"/>
                    <a:pt x="1270" y="49"/>
                  </a:cubicBezTo>
                  <a:cubicBezTo>
                    <a:pt x="1266" y="49"/>
                    <a:pt x="1262" y="50"/>
                    <a:pt x="1258" y="51"/>
                  </a:cubicBezTo>
                  <a:cubicBezTo>
                    <a:pt x="1255" y="52"/>
                    <a:pt x="1251" y="54"/>
                    <a:pt x="1248" y="56"/>
                  </a:cubicBezTo>
                  <a:lnTo>
                    <a:pt x="1241" y="44"/>
                  </a:lnTo>
                  <a:cubicBezTo>
                    <a:pt x="1245" y="41"/>
                    <a:pt x="1250" y="39"/>
                    <a:pt x="1256" y="37"/>
                  </a:cubicBezTo>
                  <a:cubicBezTo>
                    <a:pt x="1261" y="35"/>
                    <a:pt x="1267" y="34"/>
                    <a:pt x="1273" y="34"/>
                  </a:cubicBezTo>
                  <a:cubicBezTo>
                    <a:pt x="1283" y="34"/>
                    <a:pt x="1290" y="37"/>
                    <a:pt x="1295" y="43"/>
                  </a:cubicBezTo>
                  <a:cubicBezTo>
                    <a:pt x="1300" y="48"/>
                    <a:pt x="1302" y="57"/>
                    <a:pt x="1302" y="68"/>
                  </a:cubicBezTo>
                  <a:lnTo>
                    <a:pt x="1302" y="114"/>
                  </a:lnTo>
                  <a:lnTo>
                    <a:pt x="1287" y="114"/>
                  </a:lnTo>
                  <a:lnTo>
                    <a:pt x="1286" y="105"/>
                  </a:lnTo>
                  <a:lnTo>
                    <a:pt x="1285" y="105"/>
                  </a:lnTo>
                  <a:cubicBezTo>
                    <a:pt x="1282" y="108"/>
                    <a:pt x="1278" y="111"/>
                    <a:pt x="1274" y="113"/>
                  </a:cubicBezTo>
                  <a:cubicBezTo>
                    <a:pt x="1270" y="115"/>
                    <a:pt x="1266" y="116"/>
                    <a:pt x="1261" y="116"/>
                  </a:cubicBezTo>
                  <a:cubicBezTo>
                    <a:pt x="1254" y="116"/>
                    <a:pt x="1249" y="114"/>
                    <a:pt x="1244" y="109"/>
                  </a:cubicBezTo>
                  <a:cubicBezTo>
                    <a:pt x="1240" y="105"/>
                    <a:pt x="1238" y="100"/>
                    <a:pt x="1238" y="93"/>
                  </a:cubicBezTo>
                  <a:close/>
                  <a:moveTo>
                    <a:pt x="1153" y="2"/>
                  </a:moveTo>
                  <a:lnTo>
                    <a:pt x="1171" y="2"/>
                  </a:lnTo>
                  <a:lnTo>
                    <a:pt x="1171" y="31"/>
                  </a:lnTo>
                  <a:lnTo>
                    <a:pt x="1171" y="46"/>
                  </a:lnTo>
                  <a:cubicBezTo>
                    <a:pt x="1174" y="43"/>
                    <a:pt x="1177" y="40"/>
                    <a:pt x="1181" y="38"/>
                  </a:cubicBezTo>
                  <a:cubicBezTo>
                    <a:pt x="1185" y="35"/>
                    <a:pt x="1190" y="34"/>
                    <a:pt x="1195" y="34"/>
                  </a:cubicBezTo>
                  <a:cubicBezTo>
                    <a:pt x="1204" y="34"/>
                    <a:pt x="1210" y="37"/>
                    <a:pt x="1214" y="42"/>
                  </a:cubicBezTo>
                  <a:cubicBezTo>
                    <a:pt x="1217" y="47"/>
                    <a:pt x="1219" y="55"/>
                    <a:pt x="1219" y="65"/>
                  </a:cubicBezTo>
                  <a:lnTo>
                    <a:pt x="1219" y="114"/>
                  </a:lnTo>
                  <a:lnTo>
                    <a:pt x="1201" y="114"/>
                  </a:lnTo>
                  <a:lnTo>
                    <a:pt x="1201" y="67"/>
                  </a:lnTo>
                  <a:cubicBezTo>
                    <a:pt x="1201" y="61"/>
                    <a:pt x="1200" y="56"/>
                    <a:pt x="1198" y="54"/>
                  </a:cubicBezTo>
                  <a:cubicBezTo>
                    <a:pt x="1196" y="51"/>
                    <a:pt x="1193" y="50"/>
                    <a:pt x="1189" y="50"/>
                  </a:cubicBezTo>
                  <a:cubicBezTo>
                    <a:pt x="1186" y="50"/>
                    <a:pt x="1183" y="51"/>
                    <a:pt x="1180" y="52"/>
                  </a:cubicBezTo>
                  <a:cubicBezTo>
                    <a:pt x="1177" y="54"/>
                    <a:pt x="1174" y="56"/>
                    <a:pt x="1171" y="59"/>
                  </a:cubicBezTo>
                  <a:lnTo>
                    <a:pt x="1171" y="114"/>
                  </a:lnTo>
                  <a:lnTo>
                    <a:pt x="1153" y="114"/>
                  </a:lnTo>
                  <a:lnTo>
                    <a:pt x="1153" y="2"/>
                  </a:lnTo>
                  <a:close/>
                  <a:moveTo>
                    <a:pt x="1075" y="75"/>
                  </a:moveTo>
                  <a:cubicBezTo>
                    <a:pt x="1075" y="68"/>
                    <a:pt x="1076" y="63"/>
                    <a:pt x="1078" y="58"/>
                  </a:cubicBezTo>
                  <a:cubicBezTo>
                    <a:pt x="1080" y="53"/>
                    <a:pt x="1083" y="48"/>
                    <a:pt x="1086" y="45"/>
                  </a:cubicBezTo>
                  <a:cubicBezTo>
                    <a:pt x="1090" y="41"/>
                    <a:pt x="1094" y="39"/>
                    <a:pt x="1099" y="37"/>
                  </a:cubicBezTo>
                  <a:cubicBezTo>
                    <a:pt x="1104" y="35"/>
                    <a:pt x="1109" y="34"/>
                    <a:pt x="1114" y="34"/>
                  </a:cubicBezTo>
                  <a:cubicBezTo>
                    <a:pt x="1119" y="34"/>
                    <a:pt x="1123" y="35"/>
                    <a:pt x="1127" y="37"/>
                  </a:cubicBezTo>
                  <a:cubicBezTo>
                    <a:pt x="1131" y="38"/>
                    <a:pt x="1134" y="41"/>
                    <a:pt x="1136" y="43"/>
                  </a:cubicBezTo>
                  <a:lnTo>
                    <a:pt x="1128" y="55"/>
                  </a:lnTo>
                  <a:cubicBezTo>
                    <a:pt x="1126" y="53"/>
                    <a:pt x="1124" y="51"/>
                    <a:pt x="1121" y="50"/>
                  </a:cubicBezTo>
                  <a:cubicBezTo>
                    <a:pt x="1119" y="49"/>
                    <a:pt x="1117" y="49"/>
                    <a:pt x="1115" y="49"/>
                  </a:cubicBezTo>
                  <a:cubicBezTo>
                    <a:pt x="1108" y="49"/>
                    <a:pt x="1103" y="51"/>
                    <a:pt x="1099" y="56"/>
                  </a:cubicBezTo>
                  <a:cubicBezTo>
                    <a:pt x="1095" y="61"/>
                    <a:pt x="1093" y="67"/>
                    <a:pt x="1093" y="75"/>
                  </a:cubicBezTo>
                  <a:cubicBezTo>
                    <a:pt x="1093" y="83"/>
                    <a:pt x="1095" y="89"/>
                    <a:pt x="1099" y="94"/>
                  </a:cubicBezTo>
                  <a:cubicBezTo>
                    <a:pt x="1103" y="98"/>
                    <a:pt x="1108" y="101"/>
                    <a:pt x="1114" y="101"/>
                  </a:cubicBezTo>
                  <a:cubicBezTo>
                    <a:pt x="1117" y="101"/>
                    <a:pt x="1120" y="100"/>
                    <a:pt x="1123" y="99"/>
                  </a:cubicBezTo>
                  <a:cubicBezTo>
                    <a:pt x="1126" y="97"/>
                    <a:pt x="1128" y="96"/>
                    <a:pt x="1130" y="94"/>
                  </a:cubicBezTo>
                  <a:lnTo>
                    <a:pt x="1138" y="106"/>
                  </a:lnTo>
                  <a:cubicBezTo>
                    <a:pt x="1134" y="109"/>
                    <a:pt x="1130" y="111"/>
                    <a:pt x="1126" y="113"/>
                  </a:cubicBezTo>
                  <a:cubicBezTo>
                    <a:pt x="1121" y="115"/>
                    <a:pt x="1117" y="116"/>
                    <a:pt x="1112" y="116"/>
                  </a:cubicBezTo>
                  <a:cubicBezTo>
                    <a:pt x="1107" y="116"/>
                    <a:pt x="1102" y="115"/>
                    <a:pt x="1097" y="113"/>
                  </a:cubicBezTo>
                  <a:cubicBezTo>
                    <a:pt x="1093" y="111"/>
                    <a:pt x="1089" y="108"/>
                    <a:pt x="1086" y="105"/>
                  </a:cubicBezTo>
                  <a:cubicBezTo>
                    <a:pt x="1082" y="101"/>
                    <a:pt x="1079" y="97"/>
                    <a:pt x="1078" y="92"/>
                  </a:cubicBezTo>
                  <a:cubicBezTo>
                    <a:pt x="1076" y="87"/>
                    <a:pt x="1075" y="81"/>
                    <a:pt x="1075" y="75"/>
                  </a:cubicBezTo>
                  <a:close/>
                  <a:moveTo>
                    <a:pt x="1012" y="93"/>
                  </a:moveTo>
                  <a:cubicBezTo>
                    <a:pt x="1016" y="96"/>
                    <a:pt x="1019" y="98"/>
                    <a:pt x="1023" y="100"/>
                  </a:cubicBezTo>
                  <a:cubicBezTo>
                    <a:pt x="1026" y="101"/>
                    <a:pt x="1030" y="102"/>
                    <a:pt x="1034" y="102"/>
                  </a:cubicBezTo>
                  <a:cubicBezTo>
                    <a:pt x="1038" y="102"/>
                    <a:pt x="1041" y="101"/>
                    <a:pt x="1043" y="99"/>
                  </a:cubicBezTo>
                  <a:cubicBezTo>
                    <a:pt x="1045" y="97"/>
                    <a:pt x="1046" y="95"/>
                    <a:pt x="1046" y="92"/>
                  </a:cubicBezTo>
                  <a:cubicBezTo>
                    <a:pt x="1046" y="91"/>
                    <a:pt x="1046" y="89"/>
                    <a:pt x="1045" y="88"/>
                  </a:cubicBezTo>
                  <a:cubicBezTo>
                    <a:pt x="1044" y="87"/>
                    <a:pt x="1043" y="86"/>
                    <a:pt x="1041" y="85"/>
                  </a:cubicBezTo>
                  <a:cubicBezTo>
                    <a:pt x="1039" y="84"/>
                    <a:pt x="1038" y="83"/>
                    <a:pt x="1036" y="82"/>
                  </a:cubicBezTo>
                  <a:cubicBezTo>
                    <a:pt x="1034" y="82"/>
                    <a:pt x="1032" y="81"/>
                    <a:pt x="1030" y="80"/>
                  </a:cubicBezTo>
                  <a:cubicBezTo>
                    <a:pt x="1027" y="79"/>
                    <a:pt x="1024" y="78"/>
                    <a:pt x="1022" y="77"/>
                  </a:cubicBezTo>
                  <a:cubicBezTo>
                    <a:pt x="1019" y="75"/>
                    <a:pt x="1017" y="74"/>
                    <a:pt x="1015" y="72"/>
                  </a:cubicBezTo>
                  <a:cubicBezTo>
                    <a:pt x="1013" y="70"/>
                    <a:pt x="1011" y="68"/>
                    <a:pt x="1010" y="66"/>
                  </a:cubicBezTo>
                  <a:cubicBezTo>
                    <a:pt x="1008" y="63"/>
                    <a:pt x="1008" y="61"/>
                    <a:pt x="1008" y="57"/>
                  </a:cubicBezTo>
                  <a:cubicBezTo>
                    <a:pt x="1008" y="50"/>
                    <a:pt x="1010" y="45"/>
                    <a:pt x="1015" y="41"/>
                  </a:cubicBezTo>
                  <a:cubicBezTo>
                    <a:pt x="1020" y="36"/>
                    <a:pt x="1027" y="34"/>
                    <a:pt x="1036" y="34"/>
                  </a:cubicBezTo>
                  <a:cubicBezTo>
                    <a:pt x="1041" y="34"/>
                    <a:pt x="1046" y="35"/>
                    <a:pt x="1051" y="37"/>
                  </a:cubicBezTo>
                  <a:cubicBezTo>
                    <a:pt x="1055" y="39"/>
                    <a:pt x="1059" y="41"/>
                    <a:pt x="1062" y="43"/>
                  </a:cubicBezTo>
                  <a:lnTo>
                    <a:pt x="1054" y="54"/>
                  </a:lnTo>
                  <a:cubicBezTo>
                    <a:pt x="1051" y="52"/>
                    <a:pt x="1048" y="51"/>
                    <a:pt x="1045" y="50"/>
                  </a:cubicBezTo>
                  <a:cubicBezTo>
                    <a:pt x="1042" y="48"/>
                    <a:pt x="1039" y="48"/>
                    <a:pt x="1036" y="48"/>
                  </a:cubicBezTo>
                  <a:cubicBezTo>
                    <a:pt x="1033" y="48"/>
                    <a:pt x="1030" y="49"/>
                    <a:pt x="1028" y="50"/>
                  </a:cubicBezTo>
                  <a:cubicBezTo>
                    <a:pt x="1026" y="52"/>
                    <a:pt x="1025" y="54"/>
                    <a:pt x="1025" y="56"/>
                  </a:cubicBezTo>
                  <a:cubicBezTo>
                    <a:pt x="1025" y="58"/>
                    <a:pt x="1025" y="59"/>
                    <a:pt x="1026" y="60"/>
                  </a:cubicBezTo>
                  <a:cubicBezTo>
                    <a:pt x="1027" y="62"/>
                    <a:pt x="1028" y="63"/>
                    <a:pt x="1030" y="63"/>
                  </a:cubicBezTo>
                  <a:cubicBezTo>
                    <a:pt x="1031" y="64"/>
                    <a:pt x="1033" y="65"/>
                    <a:pt x="1035" y="66"/>
                  </a:cubicBezTo>
                  <a:cubicBezTo>
                    <a:pt x="1037" y="66"/>
                    <a:pt x="1039" y="67"/>
                    <a:pt x="1041" y="68"/>
                  </a:cubicBezTo>
                  <a:cubicBezTo>
                    <a:pt x="1044" y="69"/>
                    <a:pt x="1046" y="70"/>
                    <a:pt x="1049" y="71"/>
                  </a:cubicBezTo>
                  <a:cubicBezTo>
                    <a:pt x="1052" y="72"/>
                    <a:pt x="1054" y="74"/>
                    <a:pt x="1056" y="76"/>
                  </a:cubicBezTo>
                  <a:cubicBezTo>
                    <a:pt x="1058" y="77"/>
                    <a:pt x="1060" y="80"/>
                    <a:pt x="1062" y="82"/>
                  </a:cubicBezTo>
                  <a:cubicBezTo>
                    <a:pt x="1063" y="85"/>
                    <a:pt x="1063" y="88"/>
                    <a:pt x="1063" y="92"/>
                  </a:cubicBezTo>
                  <a:cubicBezTo>
                    <a:pt x="1063" y="95"/>
                    <a:pt x="1063" y="98"/>
                    <a:pt x="1062" y="101"/>
                  </a:cubicBezTo>
                  <a:cubicBezTo>
                    <a:pt x="1060" y="104"/>
                    <a:pt x="1058" y="106"/>
                    <a:pt x="1056" y="109"/>
                  </a:cubicBezTo>
                  <a:cubicBezTo>
                    <a:pt x="1053" y="111"/>
                    <a:pt x="1050" y="112"/>
                    <a:pt x="1046" y="114"/>
                  </a:cubicBezTo>
                  <a:cubicBezTo>
                    <a:pt x="1042" y="115"/>
                    <a:pt x="1038" y="116"/>
                    <a:pt x="1033" y="116"/>
                  </a:cubicBezTo>
                  <a:cubicBezTo>
                    <a:pt x="1028" y="116"/>
                    <a:pt x="1023" y="115"/>
                    <a:pt x="1017" y="113"/>
                  </a:cubicBezTo>
                  <a:cubicBezTo>
                    <a:pt x="1012" y="110"/>
                    <a:pt x="1008" y="108"/>
                    <a:pt x="1004" y="105"/>
                  </a:cubicBezTo>
                  <a:lnTo>
                    <a:pt x="1012" y="93"/>
                  </a:lnTo>
                  <a:close/>
                  <a:moveTo>
                    <a:pt x="957" y="50"/>
                  </a:moveTo>
                  <a:lnTo>
                    <a:pt x="946" y="50"/>
                  </a:lnTo>
                  <a:lnTo>
                    <a:pt x="946" y="37"/>
                  </a:lnTo>
                  <a:lnTo>
                    <a:pt x="958" y="36"/>
                  </a:lnTo>
                  <a:lnTo>
                    <a:pt x="960" y="15"/>
                  </a:lnTo>
                  <a:lnTo>
                    <a:pt x="975" y="15"/>
                  </a:lnTo>
                  <a:lnTo>
                    <a:pt x="975" y="36"/>
                  </a:lnTo>
                  <a:lnTo>
                    <a:pt x="995" y="36"/>
                  </a:lnTo>
                  <a:lnTo>
                    <a:pt x="995" y="50"/>
                  </a:lnTo>
                  <a:lnTo>
                    <a:pt x="975" y="50"/>
                  </a:lnTo>
                  <a:lnTo>
                    <a:pt x="975" y="87"/>
                  </a:lnTo>
                  <a:cubicBezTo>
                    <a:pt x="975" y="96"/>
                    <a:pt x="979" y="101"/>
                    <a:pt x="986" y="101"/>
                  </a:cubicBezTo>
                  <a:cubicBezTo>
                    <a:pt x="988" y="101"/>
                    <a:pt x="989" y="101"/>
                    <a:pt x="991" y="101"/>
                  </a:cubicBezTo>
                  <a:cubicBezTo>
                    <a:pt x="992" y="100"/>
                    <a:pt x="993" y="100"/>
                    <a:pt x="994" y="99"/>
                  </a:cubicBezTo>
                  <a:lnTo>
                    <a:pt x="998" y="113"/>
                  </a:lnTo>
                  <a:cubicBezTo>
                    <a:pt x="996" y="113"/>
                    <a:pt x="993" y="114"/>
                    <a:pt x="990" y="115"/>
                  </a:cubicBezTo>
                  <a:cubicBezTo>
                    <a:pt x="988" y="115"/>
                    <a:pt x="985" y="116"/>
                    <a:pt x="982" y="116"/>
                  </a:cubicBezTo>
                  <a:cubicBezTo>
                    <a:pt x="977" y="116"/>
                    <a:pt x="973" y="115"/>
                    <a:pt x="970" y="114"/>
                  </a:cubicBezTo>
                  <a:cubicBezTo>
                    <a:pt x="967" y="112"/>
                    <a:pt x="965" y="110"/>
                    <a:pt x="963" y="108"/>
                  </a:cubicBezTo>
                  <a:cubicBezTo>
                    <a:pt x="961" y="105"/>
                    <a:pt x="959" y="102"/>
                    <a:pt x="958" y="99"/>
                  </a:cubicBezTo>
                  <a:cubicBezTo>
                    <a:pt x="958" y="95"/>
                    <a:pt x="957" y="92"/>
                    <a:pt x="957" y="87"/>
                  </a:cubicBezTo>
                  <a:lnTo>
                    <a:pt x="957" y="50"/>
                  </a:lnTo>
                  <a:close/>
                  <a:moveTo>
                    <a:pt x="895" y="36"/>
                  </a:moveTo>
                  <a:lnTo>
                    <a:pt x="910" y="36"/>
                  </a:lnTo>
                  <a:lnTo>
                    <a:pt x="912" y="50"/>
                  </a:lnTo>
                  <a:lnTo>
                    <a:pt x="912" y="50"/>
                  </a:lnTo>
                  <a:cubicBezTo>
                    <a:pt x="915" y="45"/>
                    <a:pt x="918" y="41"/>
                    <a:pt x="922" y="38"/>
                  </a:cubicBezTo>
                  <a:cubicBezTo>
                    <a:pt x="926" y="35"/>
                    <a:pt x="930" y="34"/>
                    <a:pt x="934" y="34"/>
                  </a:cubicBezTo>
                  <a:cubicBezTo>
                    <a:pt x="938" y="34"/>
                    <a:pt x="941" y="35"/>
                    <a:pt x="943" y="36"/>
                  </a:cubicBezTo>
                  <a:lnTo>
                    <a:pt x="940" y="51"/>
                  </a:lnTo>
                  <a:cubicBezTo>
                    <a:pt x="939" y="51"/>
                    <a:pt x="937" y="51"/>
                    <a:pt x="936" y="51"/>
                  </a:cubicBezTo>
                  <a:cubicBezTo>
                    <a:pt x="935" y="50"/>
                    <a:pt x="934" y="50"/>
                    <a:pt x="932" y="50"/>
                  </a:cubicBezTo>
                  <a:cubicBezTo>
                    <a:pt x="929" y="50"/>
                    <a:pt x="926" y="51"/>
                    <a:pt x="922" y="54"/>
                  </a:cubicBezTo>
                  <a:cubicBezTo>
                    <a:pt x="919" y="56"/>
                    <a:pt x="916" y="60"/>
                    <a:pt x="914" y="66"/>
                  </a:cubicBezTo>
                  <a:lnTo>
                    <a:pt x="914" y="114"/>
                  </a:lnTo>
                  <a:lnTo>
                    <a:pt x="895" y="114"/>
                  </a:lnTo>
                  <a:lnTo>
                    <a:pt x="895" y="36"/>
                  </a:lnTo>
                  <a:close/>
                  <a:moveTo>
                    <a:pt x="854" y="36"/>
                  </a:moveTo>
                  <a:lnTo>
                    <a:pt x="872" y="36"/>
                  </a:lnTo>
                  <a:lnTo>
                    <a:pt x="872" y="114"/>
                  </a:lnTo>
                  <a:lnTo>
                    <a:pt x="854" y="114"/>
                  </a:lnTo>
                  <a:lnTo>
                    <a:pt x="854" y="36"/>
                  </a:lnTo>
                  <a:close/>
                  <a:moveTo>
                    <a:pt x="863" y="22"/>
                  </a:moveTo>
                  <a:cubicBezTo>
                    <a:pt x="860" y="22"/>
                    <a:pt x="857" y="21"/>
                    <a:pt x="855" y="19"/>
                  </a:cubicBezTo>
                  <a:cubicBezTo>
                    <a:pt x="853" y="18"/>
                    <a:pt x="852" y="15"/>
                    <a:pt x="852" y="12"/>
                  </a:cubicBezTo>
                  <a:cubicBezTo>
                    <a:pt x="852" y="9"/>
                    <a:pt x="853" y="6"/>
                    <a:pt x="855" y="5"/>
                  </a:cubicBezTo>
                  <a:cubicBezTo>
                    <a:pt x="857" y="3"/>
                    <a:pt x="860" y="2"/>
                    <a:pt x="863" y="2"/>
                  </a:cubicBezTo>
                  <a:cubicBezTo>
                    <a:pt x="866" y="2"/>
                    <a:pt x="869" y="3"/>
                    <a:pt x="871" y="5"/>
                  </a:cubicBezTo>
                  <a:cubicBezTo>
                    <a:pt x="873" y="6"/>
                    <a:pt x="874" y="9"/>
                    <a:pt x="874" y="12"/>
                  </a:cubicBezTo>
                  <a:cubicBezTo>
                    <a:pt x="874" y="15"/>
                    <a:pt x="873" y="18"/>
                    <a:pt x="871" y="19"/>
                  </a:cubicBezTo>
                  <a:cubicBezTo>
                    <a:pt x="869" y="21"/>
                    <a:pt x="866" y="22"/>
                    <a:pt x="863" y="22"/>
                  </a:cubicBezTo>
                  <a:close/>
                  <a:moveTo>
                    <a:pt x="728" y="36"/>
                  </a:moveTo>
                  <a:lnTo>
                    <a:pt x="746" y="36"/>
                  </a:lnTo>
                  <a:lnTo>
                    <a:pt x="755" y="76"/>
                  </a:lnTo>
                  <a:cubicBezTo>
                    <a:pt x="756" y="80"/>
                    <a:pt x="757" y="84"/>
                    <a:pt x="758" y="87"/>
                  </a:cubicBezTo>
                  <a:cubicBezTo>
                    <a:pt x="758" y="91"/>
                    <a:pt x="759" y="95"/>
                    <a:pt x="760" y="99"/>
                  </a:cubicBezTo>
                  <a:lnTo>
                    <a:pt x="760" y="99"/>
                  </a:lnTo>
                  <a:cubicBezTo>
                    <a:pt x="761" y="95"/>
                    <a:pt x="762" y="91"/>
                    <a:pt x="762" y="87"/>
                  </a:cubicBezTo>
                  <a:cubicBezTo>
                    <a:pt x="763" y="84"/>
                    <a:pt x="764" y="80"/>
                    <a:pt x="765" y="76"/>
                  </a:cubicBezTo>
                  <a:lnTo>
                    <a:pt x="775" y="36"/>
                  </a:lnTo>
                  <a:lnTo>
                    <a:pt x="792" y="36"/>
                  </a:lnTo>
                  <a:lnTo>
                    <a:pt x="802" y="76"/>
                  </a:lnTo>
                  <a:cubicBezTo>
                    <a:pt x="803" y="80"/>
                    <a:pt x="804" y="84"/>
                    <a:pt x="805" y="87"/>
                  </a:cubicBezTo>
                  <a:cubicBezTo>
                    <a:pt x="806" y="91"/>
                    <a:pt x="806" y="95"/>
                    <a:pt x="807" y="99"/>
                  </a:cubicBezTo>
                  <a:lnTo>
                    <a:pt x="808" y="99"/>
                  </a:lnTo>
                  <a:cubicBezTo>
                    <a:pt x="809" y="95"/>
                    <a:pt x="809" y="91"/>
                    <a:pt x="810" y="87"/>
                  </a:cubicBezTo>
                  <a:cubicBezTo>
                    <a:pt x="811" y="84"/>
                    <a:pt x="811" y="80"/>
                    <a:pt x="812" y="76"/>
                  </a:cubicBezTo>
                  <a:lnTo>
                    <a:pt x="821" y="36"/>
                  </a:lnTo>
                  <a:lnTo>
                    <a:pt x="839" y="36"/>
                  </a:lnTo>
                  <a:lnTo>
                    <a:pt x="819" y="114"/>
                  </a:lnTo>
                  <a:lnTo>
                    <a:pt x="797" y="114"/>
                  </a:lnTo>
                  <a:lnTo>
                    <a:pt x="788" y="77"/>
                  </a:lnTo>
                  <a:cubicBezTo>
                    <a:pt x="787" y="74"/>
                    <a:pt x="786" y="70"/>
                    <a:pt x="786" y="66"/>
                  </a:cubicBezTo>
                  <a:cubicBezTo>
                    <a:pt x="785" y="63"/>
                    <a:pt x="784" y="59"/>
                    <a:pt x="783" y="55"/>
                  </a:cubicBezTo>
                  <a:lnTo>
                    <a:pt x="783" y="55"/>
                  </a:lnTo>
                  <a:cubicBezTo>
                    <a:pt x="782" y="59"/>
                    <a:pt x="781" y="63"/>
                    <a:pt x="780" y="67"/>
                  </a:cubicBezTo>
                  <a:cubicBezTo>
                    <a:pt x="780" y="70"/>
                    <a:pt x="779" y="74"/>
                    <a:pt x="778" y="78"/>
                  </a:cubicBezTo>
                  <a:lnTo>
                    <a:pt x="769" y="114"/>
                  </a:lnTo>
                  <a:lnTo>
                    <a:pt x="748" y="114"/>
                  </a:lnTo>
                  <a:lnTo>
                    <a:pt x="728" y="36"/>
                  </a:lnTo>
                  <a:close/>
                  <a:moveTo>
                    <a:pt x="675" y="36"/>
                  </a:moveTo>
                  <a:lnTo>
                    <a:pt x="690" y="36"/>
                  </a:lnTo>
                  <a:lnTo>
                    <a:pt x="691" y="50"/>
                  </a:lnTo>
                  <a:lnTo>
                    <a:pt x="692" y="50"/>
                  </a:lnTo>
                  <a:cubicBezTo>
                    <a:pt x="695" y="45"/>
                    <a:pt x="698" y="41"/>
                    <a:pt x="702" y="38"/>
                  </a:cubicBezTo>
                  <a:cubicBezTo>
                    <a:pt x="706" y="35"/>
                    <a:pt x="710" y="34"/>
                    <a:pt x="714" y="34"/>
                  </a:cubicBezTo>
                  <a:cubicBezTo>
                    <a:pt x="718" y="34"/>
                    <a:pt x="721" y="35"/>
                    <a:pt x="723" y="36"/>
                  </a:cubicBezTo>
                  <a:lnTo>
                    <a:pt x="720" y="51"/>
                  </a:lnTo>
                  <a:cubicBezTo>
                    <a:pt x="718" y="51"/>
                    <a:pt x="717" y="51"/>
                    <a:pt x="716" y="51"/>
                  </a:cubicBezTo>
                  <a:cubicBezTo>
                    <a:pt x="715" y="50"/>
                    <a:pt x="713" y="50"/>
                    <a:pt x="712" y="50"/>
                  </a:cubicBezTo>
                  <a:cubicBezTo>
                    <a:pt x="709" y="50"/>
                    <a:pt x="705" y="51"/>
                    <a:pt x="702" y="54"/>
                  </a:cubicBezTo>
                  <a:cubicBezTo>
                    <a:pt x="699" y="56"/>
                    <a:pt x="696" y="60"/>
                    <a:pt x="693" y="66"/>
                  </a:cubicBezTo>
                  <a:lnTo>
                    <a:pt x="693" y="114"/>
                  </a:lnTo>
                  <a:lnTo>
                    <a:pt x="675" y="114"/>
                  </a:lnTo>
                  <a:lnTo>
                    <a:pt x="675" y="36"/>
                  </a:lnTo>
                  <a:close/>
                  <a:moveTo>
                    <a:pt x="642" y="68"/>
                  </a:moveTo>
                  <a:cubicBezTo>
                    <a:pt x="642" y="62"/>
                    <a:pt x="641" y="57"/>
                    <a:pt x="638" y="53"/>
                  </a:cubicBezTo>
                  <a:cubicBezTo>
                    <a:pt x="635" y="50"/>
                    <a:pt x="631" y="48"/>
                    <a:pt x="626" y="48"/>
                  </a:cubicBezTo>
                  <a:cubicBezTo>
                    <a:pt x="621" y="48"/>
                    <a:pt x="617" y="50"/>
                    <a:pt x="614" y="53"/>
                  </a:cubicBezTo>
                  <a:cubicBezTo>
                    <a:pt x="610" y="56"/>
                    <a:pt x="608" y="61"/>
                    <a:pt x="607" y="68"/>
                  </a:cubicBezTo>
                  <a:lnTo>
                    <a:pt x="642" y="68"/>
                  </a:lnTo>
                  <a:close/>
                  <a:moveTo>
                    <a:pt x="590" y="75"/>
                  </a:moveTo>
                  <a:cubicBezTo>
                    <a:pt x="590" y="69"/>
                    <a:pt x="591" y="63"/>
                    <a:pt x="593" y="58"/>
                  </a:cubicBezTo>
                  <a:cubicBezTo>
                    <a:pt x="595" y="53"/>
                    <a:pt x="597" y="48"/>
                    <a:pt x="601" y="45"/>
                  </a:cubicBezTo>
                  <a:cubicBezTo>
                    <a:pt x="604" y="41"/>
                    <a:pt x="608" y="39"/>
                    <a:pt x="612" y="37"/>
                  </a:cubicBezTo>
                  <a:cubicBezTo>
                    <a:pt x="617" y="35"/>
                    <a:pt x="621" y="34"/>
                    <a:pt x="626" y="34"/>
                  </a:cubicBezTo>
                  <a:cubicBezTo>
                    <a:pt x="631" y="34"/>
                    <a:pt x="635" y="35"/>
                    <a:pt x="639" y="37"/>
                  </a:cubicBezTo>
                  <a:cubicBezTo>
                    <a:pt x="644" y="39"/>
                    <a:pt x="647" y="41"/>
                    <a:pt x="650" y="44"/>
                  </a:cubicBezTo>
                  <a:cubicBezTo>
                    <a:pt x="652" y="48"/>
                    <a:pt x="654" y="52"/>
                    <a:pt x="656" y="56"/>
                  </a:cubicBezTo>
                  <a:cubicBezTo>
                    <a:pt x="657" y="61"/>
                    <a:pt x="658" y="66"/>
                    <a:pt x="658" y="71"/>
                  </a:cubicBezTo>
                  <a:cubicBezTo>
                    <a:pt x="658" y="75"/>
                    <a:pt x="657" y="77"/>
                    <a:pt x="657" y="79"/>
                  </a:cubicBezTo>
                  <a:lnTo>
                    <a:pt x="608" y="79"/>
                  </a:lnTo>
                  <a:cubicBezTo>
                    <a:pt x="608" y="87"/>
                    <a:pt x="611" y="92"/>
                    <a:pt x="615" y="96"/>
                  </a:cubicBezTo>
                  <a:cubicBezTo>
                    <a:pt x="619" y="100"/>
                    <a:pt x="624" y="101"/>
                    <a:pt x="630" y="101"/>
                  </a:cubicBezTo>
                  <a:cubicBezTo>
                    <a:pt x="634" y="101"/>
                    <a:pt x="637" y="101"/>
                    <a:pt x="640" y="100"/>
                  </a:cubicBezTo>
                  <a:cubicBezTo>
                    <a:pt x="643" y="99"/>
                    <a:pt x="646" y="98"/>
                    <a:pt x="649" y="96"/>
                  </a:cubicBezTo>
                  <a:lnTo>
                    <a:pt x="655" y="107"/>
                  </a:lnTo>
                  <a:cubicBezTo>
                    <a:pt x="651" y="110"/>
                    <a:pt x="647" y="112"/>
                    <a:pt x="642" y="113"/>
                  </a:cubicBezTo>
                  <a:cubicBezTo>
                    <a:pt x="638" y="115"/>
                    <a:pt x="633" y="116"/>
                    <a:pt x="628" y="116"/>
                  </a:cubicBezTo>
                  <a:cubicBezTo>
                    <a:pt x="623" y="116"/>
                    <a:pt x="618" y="115"/>
                    <a:pt x="613" y="113"/>
                  </a:cubicBezTo>
                  <a:cubicBezTo>
                    <a:pt x="608" y="111"/>
                    <a:pt x="604" y="108"/>
                    <a:pt x="601" y="105"/>
                  </a:cubicBezTo>
                  <a:cubicBezTo>
                    <a:pt x="597" y="101"/>
                    <a:pt x="595" y="97"/>
                    <a:pt x="593" y="92"/>
                  </a:cubicBezTo>
                  <a:cubicBezTo>
                    <a:pt x="591" y="87"/>
                    <a:pt x="590" y="81"/>
                    <a:pt x="590" y="75"/>
                  </a:cubicBezTo>
                  <a:close/>
                  <a:moveTo>
                    <a:pt x="527" y="93"/>
                  </a:moveTo>
                  <a:cubicBezTo>
                    <a:pt x="531" y="96"/>
                    <a:pt x="534" y="98"/>
                    <a:pt x="538" y="100"/>
                  </a:cubicBezTo>
                  <a:cubicBezTo>
                    <a:pt x="541" y="101"/>
                    <a:pt x="545" y="102"/>
                    <a:pt x="549" y="102"/>
                  </a:cubicBezTo>
                  <a:cubicBezTo>
                    <a:pt x="553" y="102"/>
                    <a:pt x="556" y="101"/>
                    <a:pt x="558" y="99"/>
                  </a:cubicBezTo>
                  <a:cubicBezTo>
                    <a:pt x="560" y="97"/>
                    <a:pt x="561" y="95"/>
                    <a:pt x="561" y="92"/>
                  </a:cubicBezTo>
                  <a:cubicBezTo>
                    <a:pt x="561" y="91"/>
                    <a:pt x="561" y="89"/>
                    <a:pt x="560" y="88"/>
                  </a:cubicBezTo>
                  <a:cubicBezTo>
                    <a:pt x="559" y="87"/>
                    <a:pt x="558" y="86"/>
                    <a:pt x="556" y="85"/>
                  </a:cubicBezTo>
                  <a:cubicBezTo>
                    <a:pt x="554" y="84"/>
                    <a:pt x="553" y="83"/>
                    <a:pt x="551" y="82"/>
                  </a:cubicBezTo>
                  <a:cubicBezTo>
                    <a:pt x="549" y="82"/>
                    <a:pt x="547" y="81"/>
                    <a:pt x="545" y="80"/>
                  </a:cubicBezTo>
                  <a:cubicBezTo>
                    <a:pt x="542" y="79"/>
                    <a:pt x="540" y="78"/>
                    <a:pt x="537" y="77"/>
                  </a:cubicBezTo>
                  <a:cubicBezTo>
                    <a:pt x="534" y="75"/>
                    <a:pt x="532" y="74"/>
                    <a:pt x="530" y="72"/>
                  </a:cubicBezTo>
                  <a:cubicBezTo>
                    <a:pt x="528" y="70"/>
                    <a:pt x="526" y="68"/>
                    <a:pt x="525" y="66"/>
                  </a:cubicBezTo>
                  <a:cubicBezTo>
                    <a:pt x="523" y="63"/>
                    <a:pt x="523" y="61"/>
                    <a:pt x="523" y="57"/>
                  </a:cubicBezTo>
                  <a:cubicBezTo>
                    <a:pt x="523" y="50"/>
                    <a:pt x="525" y="45"/>
                    <a:pt x="530" y="41"/>
                  </a:cubicBezTo>
                  <a:cubicBezTo>
                    <a:pt x="535" y="36"/>
                    <a:pt x="542" y="34"/>
                    <a:pt x="551" y="34"/>
                  </a:cubicBezTo>
                  <a:cubicBezTo>
                    <a:pt x="557" y="34"/>
                    <a:pt x="561" y="35"/>
                    <a:pt x="566" y="37"/>
                  </a:cubicBezTo>
                  <a:cubicBezTo>
                    <a:pt x="570" y="39"/>
                    <a:pt x="574" y="41"/>
                    <a:pt x="577" y="43"/>
                  </a:cubicBezTo>
                  <a:lnTo>
                    <a:pt x="569" y="54"/>
                  </a:lnTo>
                  <a:cubicBezTo>
                    <a:pt x="566" y="52"/>
                    <a:pt x="563" y="51"/>
                    <a:pt x="560" y="50"/>
                  </a:cubicBezTo>
                  <a:cubicBezTo>
                    <a:pt x="557" y="48"/>
                    <a:pt x="555" y="48"/>
                    <a:pt x="551" y="48"/>
                  </a:cubicBezTo>
                  <a:cubicBezTo>
                    <a:pt x="548" y="48"/>
                    <a:pt x="545" y="49"/>
                    <a:pt x="543" y="50"/>
                  </a:cubicBezTo>
                  <a:cubicBezTo>
                    <a:pt x="541" y="52"/>
                    <a:pt x="540" y="54"/>
                    <a:pt x="540" y="56"/>
                  </a:cubicBezTo>
                  <a:cubicBezTo>
                    <a:pt x="540" y="58"/>
                    <a:pt x="541" y="59"/>
                    <a:pt x="541" y="60"/>
                  </a:cubicBezTo>
                  <a:cubicBezTo>
                    <a:pt x="542" y="62"/>
                    <a:pt x="543" y="63"/>
                    <a:pt x="545" y="63"/>
                  </a:cubicBezTo>
                  <a:cubicBezTo>
                    <a:pt x="546" y="64"/>
                    <a:pt x="548" y="65"/>
                    <a:pt x="550" y="66"/>
                  </a:cubicBezTo>
                  <a:cubicBezTo>
                    <a:pt x="552" y="66"/>
                    <a:pt x="554" y="67"/>
                    <a:pt x="556" y="68"/>
                  </a:cubicBezTo>
                  <a:cubicBezTo>
                    <a:pt x="559" y="69"/>
                    <a:pt x="561" y="70"/>
                    <a:pt x="564" y="71"/>
                  </a:cubicBezTo>
                  <a:cubicBezTo>
                    <a:pt x="567" y="72"/>
                    <a:pt x="569" y="74"/>
                    <a:pt x="571" y="76"/>
                  </a:cubicBezTo>
                  <a:cubicBezTo>
                    <a:pt x="574" y="77"/>
                    <a:pt x="575" y="80"/>
                    <a:pt x="577" y="82"/>
                  </a:cubicBezTo>
                  <a:cubicBezTo>
                    <a:pt x="578" y="85"/>
                    <a:pt x="579" y="88"/>
                    <a:pt x="579" y="92"/>
                  </a:cubicBezTo>
                  <a:cubicBezTo>
                    <a:pt x="579" y="95"/>
                    <a:pt x="578" y="98"/>
                    <a:pt x="577" y="101"/>
                  </a:cubicBezTo>
                  <a:cubicBezTo>
                    <a:pt x="575" y="104"/>
                    <a:pt x="573" y="106"/>
                    <a:pt x="571" y="109"/>
                  </a:cubicBezTo>
                  <a:cubicBezTo>
                    <a:pt x="568" y="111"/>
                    <a:pt x="565" y="112"/>
                    <a:pt x="561" y="114"/>
                  </a:cubicBezTo>
                  <a:cubicBezTo>
                    <a:pt x="557" y="115"/>
                    <a:pt x="553" y="116"/>
                    <a:pt x="548" y="116"/>
                  </a:cubicBezTo>
                  <a:cubicBezTo>
                    <a:pt x="543" y="116"/>
                    <a:pt x="538" y="115"/>
                    <a:pt x="532" y="113"/>
                  </a:cubicBezTo>
                  <a:cubicBezTo>
                    <a:pt x="527" y="110"/>
                    <a:pt x="523" y="108"/>
                    <a:pt x="519" y="105"/>
                  </a:cubicBezTo>
                  <a:lnTo>
                    <a:pt x="527" y="93"/>
                  </a:lnTo>
                  <a:close/>
                  <a:moveTo>
                    <a:pt x="459" y="93"/>
                  </a:moveTo>
                  <a:cubicBezTo>
                    <a:pt x="463" y="96"/>
                    <a:pt x="466" y="98"/>
                    <a:pt x="470" y="100"/>
                  </a:cubicBezTo>
                  <a:cubicBezTo>
                    <a:pt x="473" y="101"/>
                    <a:pt x="477" y="102"/>
                    <a:pt x="481" y="102"/>
                  </a:cubicBezTo>
                  <a:cubicBezTo>
                    <a:pt x="485" y="102"/>
                    <a:pt x="488" y="101"/>
                    <a:pt x="490" y="99"/>
                  </a:cubicBezTo>
                  <a:cubicBezTo>
                    <a:pt x="492" y="97"/>
                    <a:pt x="493" y="95"/>
                    <a:pt x="493" y="92"/>
                  </a:cubicBezTo>
                  <a:cubicBezTo>
                    <a:pt x="493" y="91"/>
                    <a:pt x="493" y="89"/>
                    <a:pt x="492" y="88"/>
                  </a:cubicBezTo>
                  <a:cubicBezTo>
                    <a:pt x="491" y="87"/>
                    <a:pt x="489" y="86"/>
                    <a:pt x="488" y="85"/>
                  </a:cubicBezTo>
                  <a:cubicBezTo>
                    <a:pt x="486" y="84"/>
                    <a:pt x="484" y="83"/>
                    <a:pt x="482" y="82"/>
                  </a:cubicBezTo>
                  <a:cubicBezTo>
                    <a:pt x="480" y="82"/>
                    <a:pt x="478" y="81"/>
                    <a:pt x="476" y="80"/>
                  </a:cubicBezTo>
                  <a:cubicBezTo>
                    <a:pt x="474" y="79"/>
                    <a:pt x="471" y="78"/>
                    <a:pt x="469" y="77"/>
                  </a:cubicBezTo>
                  <a:cubicBezTo>
                    <a:pt x="466" y="75"/>
                    <a:pt x="464" y="74"/>
                    <a:pt x="462" y="72"/>
                  </a:cubicBezTo>
                  <a:cubicBezTo>
                    <a:pt x="460" y="70"/>
                    <a:pt x="458" y="68"/>
                    <a:pt x="457" y="66"/>
                  </a:cubicBezTo>
                  <a:cubicBezTo>
                    <a:pt x="455" y="63"/>
                    <a:pt x="455" y="61"/>
                    <a:pt x="455" y="57"/>
                  </a:cubicBezTo>
                  <a:cubicBezTo>
                    <a:pt x="455" y="50"/>
                    <a:pt x="457" y="45"/>
                    <a:pt x="462" y="41"/>
                  </a:cubicBezTo>
                  <a:cubicBezTo>
                    <a:pt x="467" y="36"/>
                    <a:pt x="474" y="34"/>
                    <a:pt x="483" y="34"/>
                  </a:cubicBezTo>
                  <a:cubicBezTo>
                    <a:pt x="488" y="34"/>
                    <a:pt x="493" y="35"/>
                    <a:pt x="497" y="37"/>
                  </a:cubicBezTo>
                  <a:cubicBezTo>
                    <a:pt x="502" y="39"/>
                    <a:pt x="506" y="41"/>
                    <a:pt x="509" y="43"/>
                  </a:cubicBezTo>
                  <a:lnTo>
                    <a:pt x="500" y="54"/>
                  </a:lnTo>
                  <a:cubicBezTo>
                    <a:pt x="498" y="52"/>
                    <a:pt x="495" y="51"/>
                    <a:pt x="492" y="50"/>
                  </a:cubicBezTo>
                  <a:cubicBezTo>
                    <a:pt x="489" y="48"/>
                    <a:pt x="486" y="48"/>
                    <a:pt x="483" y="48"/>
                  </a:cubicBezTo>
                  <a:cubicBezTo>
                    <a:pt x="479" y="48"/>
                    <a:pt x="476" y="49"/>
                    <a:pt x="475" y="50"/>
                  </a:cubicBezTo>
                  <a:cubicBezTo>
                    <a:pt x="473" y="52"/>
                    <a:pt x="472" y="54"/>
                    <a:pt x="472" y="56"/>
                  </a:cubicBezTo>
                  <a:cubicBezTo>
                    <a:pt x="472" y="58"/>
                    <a:pt x="472" y="59"/>
                    <a:pt x="473" y="60"/>
                  </a:cubicBezTo>
                  <a:cubicBezTo>
                    <a:pt x="474" y="62"/>
                    <a:pt x="475" y="63"/>
                    <a:pt x="477" y="63"/>
                  </a:cubicBezTo>
                  <a:cubicBezTo>
                    <a:pt x="478" y="64"/>
                    <a:pt x="480" y="65"/>
                    <a:pt x="482" y="66"/>
                  </a:cubicBezTo>
                  <a:cubicBezTo>
                    <a:pt x="484" y="66"/>
                    <a:pt x="486" y="67"/>
                    <a:pt x="488" y="68"/>
                  </a:cubicBezTo>
                  <a:cubicBezTo>
                    <a:pt x="491" y="69"/>
                    <a:pt x="493" y="70"/>
                    <a:pt x="496" y="71"/>
                  </a:cubicBezTo>
                  <a:cubicBezTo>
                    <a:pt x="499" y="72"/>
                    <a:pt x="501" y="74"/>
                    <a:pt x="503" y="76"/>
                  </a:cubicBezTo>
                  <a:cubicBezTo>
                    <a:pt x="505" y="77"/>
                    <a:pt x="507" y="80"/>
                    <a:pt x="508" y="82"/>
                  </a:cubicBezTo>
                  <a:cubicBezTo>
                    <a:pt x="510" y="85"/>
                    <a:pt x="510" y="88"/>
                    <a:pt x="510" y="92"/>
                  </a:cubicBezTo>
                  <a:cubicBezTo>
                    <a:pt x="510" y="95"/>
                    <a:pt x="510" y="98"/>
                    <a:pt x="508" y="101"/>
                  </a:cubicBezTo>
                  <a:cubicBezTo>
                    <a:pt x="507" y="104"/>
                    <a:pt x="505" y="106"/>
                    <a:pt x="503" y="109"/>
                  </a:cubicBezTo>
                  <a:cubicBezTo>
                    <a:pt x="500" y="111"/>
                    <a:pt x="497" y="112"/>
                    <a:pt x="493" y="114"/>
                  </a:cubicBezTo>
                  <a:cubicBezTo>
                    <a:pt x="489" y="115"/>
                    <a:pt x="485" y="116"/>
                    <a:pt x="480" y="116"/>
                  </a:cubicBezTo>
                  <a:cubicBezTo>
                    <a:pt x="475" y="116"/>
                    <a:pt x="469" y="115"/>
                    <a:pt x="464" y="113"/>
                  </a:cubicBezTo>
                  <a:cubicBezTo>
                    <a:pt x="459" y="110"/>
                    <a:pt x="454" y="108"/>
                    <a:pt x="451" y="105"/>
                  </a:cubicBezTo>
                  <a:lnTo>
                    <a:pt x="459" y="93"/>
                  </a:lnTo>
                  <a:close/>
                  <a:moveTo>
                    <a:pt x="390" y="91"/>
                  </a:moveTo>
                  <a:cubicBezTo>
                    <a:pt x="390" y="95"/>
                    <a:pt x="391" y="97"/>
                    <a:pt x="393" y="99"/>
                  </a:cubicBezTo>
                  <a:cubicBezTo>
                    <a:pt x="395" y="101"/>
                    <a:pt x="398" y="101"/>
                    <a:pt x="401" y="101"/>
                  </a:cubicBezTo>
                  <a:cubicBezTo>
                    <a:pt x="404" y="101"/>
                    <a:pt x="407" y="101"/>
                    <a:pt x="410" y="99"/>
                  </a:cubicBezTo>
                  <a:cubicBezTo>
                    <a:pt x="412" y="98"/>
                    <a:pt x="415" y="96"/>
                    <a:pt x="418" y="93"/>
                  </a:cubicBezTo>
                  <a:lnTo>
                    <a:pt x="418" y="75"/>
                  </a:lnTo>
                  <a:cubicBezTo>
                    <a:pt x="413" y="76"/>
                    <a:pt x="408" y="77"/>
                    <a:pt x="405" y="78"/>
                  </a:cubicBezTo>
                  <a:cubicBezTo>
                    <a:pt x="401" y="79"/>
                    <a:pt x="398" y="80"/>
                    <a:pt x="396" y="81"/>
                  </a:cubicBezTo>
                  <a:cubicBezTo>
                    <a:pt x="394" y="83"/>
                    <a:pt x="392" y="84"/>
                    <a:pt x="391" y="86"/>
                  </a:cubicBezTo>
                  <a:cubicBezTo>
                    <a:pt x="390" y="88"/>
                    <a:pt x="390" y="89"/>
                    <a:pt x="390" y="91"/>
                  </a:cubicBezTo>
                  <a:close/>
                  <a:moveTo>
                    <a:pt x="372" y="93"/>
                  </a:moveTo>
                  <a:cubicBezTo>
                    <a:pt x="372" y="84"/>
                    <a:pt x="376" y="78"/>
                    <a:pt x="383" y="73"/>
                  </a:cubicBezTo>
                  <a:cubicBezTo>
                    <a:pt x="390" y="69"/>
                    <a:pt x="402" y="66"/>
                    <a:pt x="418" y="64"/>
                  </a:cubicBezTo>
                  <a:cubicBezTo>
                    <a:pt x="418" y="62"/>
                    <a:pt x="418" y="60"/>
                    <a:pt x="417" y="58"/>
                  </a:cubicBezTo>
                  <a:cubicBezTo>
                    <a:pt x="417" y="56"/>
                    <a:pt x="416" y="55"/>
                    <a:pt x="415" y="53"/>
                  </a:cubicBezTo>
                  <a:cubicBezTo>
                    <a:pt x="414" y="52"/>
                    <a:pt x="412" y="51"/>
                    <a:pt x="410" y="50"/>
                  </a:cubicBezTo>
                  <a:cubicBezTo>
                    <a:pt x="409" y="49"/>
                    <a:pt x="407" y="49"/>
                    <a:pt x="404" y="49"/>
                  </a:cubicBezTo>
                  <a:cubicBezTo>
                    <a:pt x="400" y="49"/>
                    <a:pt x="396" y="50"/>
                    <a:pt x="393" y="51"/>
                  </a:cubicBezTo>
                  <a:cubicBezTo>
                    <a:pt x="389" y="52"/>
                    <a:pt x="385" y="54"/>
                    <a:pt x="382" y="56"/>
                  </a:cubicBezTo>
                  <a:lnTo>
                    <a:pt x="375" y="44"/>
                  </a:lnTo>
                  <a:cubicBezTo>
                    <a:pt x="380" y="41"/>
                    <a:pt x="385" y="39"/>
                    <a:pt x="390" y="37"/>
                  </a:cubicBezTo>
                  <a:cubicBezTo>
                    <a:pt x="395" y="35"/>
                    <a:pt x="401" y="34"/>
                    <a:pt x="407" y="34"/>
                  </a:cubicBezTo>
                  <a:cubicBezTo>
                    <a:pt x="417" y="34"/>
                    <a:pt x="424" y="37"/>
                    <a:pt x="429" y="43"/>
                  </a:cubicBezTo>
                  <a:cubicBezTo>
                    <a:pt x="434" y="48"/>
                    <a:pt x="436" y="57"/>
                    <a:pt x="436" y="68"/>
                  </a:cubicBezTo>
                  <a:lnTo>
                    <a:pt x="436" y="114"/>
                  </a:lnTo>
                  <a:lnTo>
                    <a:pt x="421" y="114"/>
                  </a:lnTo>
                  <a:lnTo>
                    <a:pt x="420" y="105"/>
                  </a:lnTo>
                  <a:lnTo>
                    <a:pt x="419" y="105"/>
                  </a:lnTo>
                  <a:cubicBezTo>
                    <a:pt x="416" y="108"/>
                    <a:pt x="412" y="111"/>
                    <a:pt x="408" y="113"/>
                  </a:cubicBezTo>
                  <a:cubicBezTo>
                    <a:pt x="404" y="115"/>
                    <a:pt x="400" y="116"/>
                    <a:pt x="395" y="116"/>
                  </a:cubicBezTo>
                  <a:cubicBezTo>
                    <a:pt x="388" y="116"/>
                    <a:pt x="383" y="114"/>
                    <a:pt x="379" y="109"/>
                  </a:cubicBezTo>
                  <a:cubicBezTo>
                    <a:pt x="374" y="105"/>
                    <a:pt x="372" y="100"/>
                    <a:pt x="372" y="93"/>
                  </a:cubicBezTo>
                  <a:close/>
                  <a:moveTo>
                    <a:pt x="242" y="10"/>
                  </a:moveTo>
                  <a:lnTo>
                    <a:pt x="261" y="10"/>
                  </a:lnTo>
                  <a:lnTo>
                    <a:pt x="270" y="62"/>
                  </a:lnTo>
                  <a:cubicBezTo>
                    <a:pt x="271" y="68"/>
                    <a:pt x="272" y="74"/>
                    <a:pt x="273" y="79"/>
                  </a:cubicBezTo>
                  <a:cubicBezTo>
                    <a:pt x="274" y="85"/>
                    <a:pt x="274" y="90"/>
                    <a:pt x="275" y="95"/>
                  </a:cubicBezTo>
                  <a:lnTo>
                    <a:pt x="276" y="95"/>
                  </a:lnTo>
                  <a:cubicBezTo>
                    <a:pt x="277" y="90"/>
                    <a:pt x="278" y="84"/>
                    <a:pt x="279" y="79"/>
                  </a:cubicBezTo>
                  <a:cubicBezTo>
                    <a:pt x="280" y="73"/>
                    <a:pt x="282" y="68"/>
                    <a:pt x="283" y="62"/>
                  </a:cubicBezTo>
                  <a:lnTo>
                    <a:pt x="295" y="10"/>
                  </a:lnTo>
                  <a:lnTo>
                    <a:pt x="311" y="10"/>
                  </a:lnTo>
                  <a:lnTo>
                    <a:pt x="324" y="62"/>
                  </a:lnTo>
                  <a:cubicBezTo>
                    <a:pt x="325" y="68"/>
                    <a:pt x="326" y="73"/>
                    <a:pt x="328" y="79"/>
                  </a:cubicBezTo>
                  <a:cubicBezTo>
                    <a:pt x="329" y="84"/>
                    <a:pt x="330" y="90"/>
                    <a:pt x="331" y="95"/>
                  </a:cubicBezTo>
                  <a:lnTo>
                    <a:pt x="332" y="95"/>
                  </a:lnTo>
                  <a:cubicBezTo>
                    <a:pt x="333" y="90"/>
                    <a:pt x="333" y="84"/>
                    <a:pt x="334" y="79"/>
                  </a:cubicBezTo>
                  <a:cubicBezTo>
                    <a:pt x="335" y="73"/>
                    <a:pt x="336" y="68"/>
                    <a:pt x="337" y="62"/>
                  </a:cubicBezTo>
                  <a:lnTo>
                    <a:pt x="346" y="10"/>
                  </a:lnTo>
                  <a:lnTo>
                    <a:pt x="363" y="10"/>
                  </a:lnTo>
                  <a:lnTo>
                    <a:pt x="343" y="114"/>
                  </a:lnTo>
                  <a:lnTo>
                    <a:pt x="321" y="114"/>
                  </a:lnTo>
                  <a:lnTo>
                    <a:pt x="308" y="59"/>
                  </a:lnTo>
                  <a:cubicBezTo>
                    <a:pt x="307" y="55"/>
                    <a:pt x="306" y="51"/>
                    <a:pt x="305" y="47"/>
                  </a:cubicBezTo>
                  <a:cubicBezTo>
                    <a:pt x="305" y="43"/>
                    <a:pt x="304" y="39"/>
                    <a:pt x="303" y="35"/>
                  </a:cubicBezTo>
                  <a:lnTo>
                    <a:pt x="303" y="35"/>
                  </a:lnTo>
                  <a:cubicBezTo>
                    <a:pt x="302" y="39"/>
                    <a:pt x="301" y="43"/>
                    <a:pt x="300" y="47"/>
                  </a:cubicBezTo>
                  <a:cubicBezTo>
                    <a:pt x="299" y="51"/>
                    <a:pt x="299" y="55"/>
                    <a:pt x="298" y="59"/>
                  </a:cubicBezTo>
                  <a:lnTo>
                    <a:pt x="285" y="114"/>
                  </a:lnTo>
                  <a:lnTo>
                    <a:pt x="263" y="114"/>
                  </a:lnTo>
                  <a:lnTo>
                    <a:pt x="242" y="10"/>
                  </a:lnTo>
                  <a:close/>
                  <a:moveTo>
                    <a:pt x="185" y="68"/>
                  </a:moveTo>
                  <a:cubicBezTo>
                    <a:pt x="185" y="62"/>
                    <a:pt x="184" y="57"/>
                    <a:pt x="182" y="53"/>
                  </a:cubicBezTo>
                  <a:cubicBezTo>
                    <a:pt x="179" y="50"/>
                    <a:pt x="175" y="48"/>
                    <a:pt x="170" y="48"/>
                  </a:cubicBezTo>
                  <a:cubicBezTo>
                    <a:pt x="165" y="48"/>
                    <a:pt x="161" y="50"/>
                    <a:pt x="157" y="53"/>
                  </a:cubicBezTo>
                  <a:cubicBezTo>
                    <a:pt x="154" y="56"/>
                    <a:pt x="152" y="61"/>
                    <a:pt x="151" y="68"/>
                  </a:cubicBezTo>
                  <a:lnTo>
                    <a:pt x="185" y="68"/>
                  </a:lnTo>
                  <a:close/>
                  <a:moveTo>
                    <a:pt x="133" y="75"/>
                  </a:moveTo>
                  <a:cubicBezTo>
                    <a:pt x="133" y="69"/>
                    <a:pt x="134" y="63"/>
                    <a:pt x="136" y="58"/>
                  </a:cubicBezTo>
                  <a:cubicBezTo>
                    <a:pt x="138" y="53"/>
                    <a:pt x="141" y="48"/>
                    <a:pt x="144" y="45"/>
                  </a:cubicBezTo>
                  <a:cubicBezTo>
                    <a:pt x="148" y="41"/>
                    <a:pt x="151" y="39"/>
                    <a:pt x="156" y="37"/>
                  </a:cubicBezTo>
                  <a:cubicBezTo>
                    <a:pt x="160" y="35"/>
                    <a:pt x="165" y="34"/>
                    <a:pt x="169" y="34"/>
                  </a:cubicBezTo>
                  <a:cubicBezTo>
                    <a:pt x="174" y="34"/>
                    <a:pt x="179" y="35"/>
                    <a:pt x="183" y="37"/>
                  </a:cubicBezTo>
                  <a:cubicBezTo>
                    <a:pt x="187" y="39"/>
                    <a:pt x="190" y="41"/>
                    <a:pt x="193" y="44"/>
                  </a:cubicBezTo>
                  <a:cubicBezTo>
                    <a:pt x="196" y="48"/>
                    <a:pt x="198" y="52"/>
                    <a:pt x="199" y="56"/>
                  </a:cubicBezTo>
                  <a:cubicBezTo>
                    <a:pt x="201" y="61"/>
                    <a:pt x="201" y="66"/>
                    <a:pt x="201" y="71"/>
                  </a:cubicBezTo>
                  <a:cubicBezTo>
                    <a:pt x="201" y="75"/>
                    <a:pt x="201" y="77"/>
                    <a:pt x="200" y="79"/>
                  </a:cubicBezTo>
                  <a:lnTo>
                    <a:pt x="151" y="79"/>
                  </a:lnTo>
                  <a:cubicBezTo>
                    <a:pt x="152" y="87"/>
                    <a:pt x="154" y="92"/>
                    <a:pt x="158" y="96"/>
                  </a:cubicBezTo>
                  <a:cubicBezTo>
                    <a:pt x="162" y="100"/>
                    <a:pt x="168" y="101"/>
                    <a:pt x="174" y="101"/>
                  </a:cubicBezTo>
                  <a:cubicBezTo>
                    <a:pt x="177" y="101"/>
                    <a:pt x="181" y="101"/>
                    <a:pt x="183" y="100"/>
                  </a:cubicBezTo>
                  <a:cubicBezTo>
                    <a:pt x="186" y="99"/>
                    <a:pt x="189" y="98"/>
                    <a:pt x="192" y="96"/>
                  </a:cubicBezTo>
                  <a:lnTo>
                    <a:pt x="198" y="107"/>
                  </a:lnTo>
                  <a:cubicBezTo>
                    <a:pt x="195" y="110"/>
                    <a:pt x="190" y="112"/>
                    <a:pt x="186" y="113"/>
                  </a:cubicBezTo>
                  <a:cubicBezTo>
                    <a:pt x="181" y="115"/>
                    <a:pt x="177" y="116"/>
                    <a:pt x="172" y="116"/>
                  </a:cubicBezTo>
                  <a:cubicBezTo>
                    <a:pt x="166" y="116"/>
                    <a:pt x="161" y="115"/>
                    <a:pt x="157" y="113"/>
                  </a:cubicBezTo>
                  <a:cubicBezTo>
                    <a:pt x="152" y="111"/>
                    <a:pt x="148" y="108"/>
                    <a:pt x="144" y="105"/>
                  </a:cubicBezTo>
                  <a:cubicBezTo>
                    <a:pt x="141" y="101"/>
                    <a:pt x="138" y="97"/>
                    <a:pt x="136" y="92"/>
                  </a:cubicBezTo>
                  <a:cubicBezTo>
                    <a:pt x="134" y="87"/>
                    <a:pt x="133" y="81"/>
                    <a:pt x="133" y="75"/>
                  </a:cubicBezTo>
                  <a:close/>
                  <a:moveTo>
                    <a:pt x="97" y="36"/>
                  </a:moveTo>
                  <a:lnTo>
                    <a:pt x="115" y="36"/>
                  </a:lnTo>
                  <a:lnTo>
                    <a:pt x="115" y="114"/>
                  </a:lnTo>
                  <a:lnTo>
                    <a:pt x="97" y="114"/>
                  </a:lnTo>
                  <a:lnTo>
                    <a:pt x="97" y="36"/>
                  </a:lnTo>
                  <a:close/>
                  <a:moveTo>
                    <a:pt x="106" y="22"/>
                  </a:moveTo>
                  <a:cubicBezTo>
                    <a:pt x="103" y="22"/>
                    <a:pt x="100" y="21"/>
                    <a:pt x="98" y="19"/>
                  </a:cubicBezTo>
                  <a:cubicBezTo>
                    <a:pt x="96" y="18"/>
                    <a:pt x="95" y="15"/>
                    <a:pt x="95" y="12"/>
                  </a:cubicBezTo>
                  <a:cubicBezTo>
                    <a:pt x="95" y="9"/>
                    <a:pt x="96" y="6"/>
                    <a:pt x="98" y="5"/>
                  </a:cubicBezTo>
                  <a:cubicBezTo>
                    <a:pt x="100" y="3"/>
                    <a:pt x="103" y="2"/>
                    <a:pt x="106" y="2"/>
                  </a:cubicBezTo>
                  <a:cubicBezTo>
                    <a:pt x="109" y="2"/>
                    <a:pt x="112" y="3"/>
                    <a:pt x="114" y="5"/>
                  </a:cubicBezTo>
                  <a:cubicBezTo>
                    <a:pt x="116" y="6"/>
                    <a:pt x="117" y="9"/>
                    <a:pt x="117" y="12"/>
                  </a:cubicBezTo>
                  <a:cubicBezTo>
                    <a:pt x="117" y="15"/>
                    <a:pt x="116" y="18"/>
                    <a:pt x="114" y="19"/>
                  </a:cubicBezTo>
                  <a:cubicBezTo>
                    <a:pt x="112" y="21"/>
                    <a:pt x="109" y="22"/>
                    <a:pt x="106" y="22"/>
                  </a:cubicBezTo>
                  <a:close/>
                  <a:moveTo>
                    <a:pt x="26" y="99"/>
                  </a:moveTo>
                  <a:cubicBezTo>
                    <a:pt x="37" y="99"/>
                    <a:pt x="45" y="96"/>
                    <a:pt x="50" y="90"/>
                  </a:cubicBezTo>
                  <a:cubicBezTo>
                    <a:pt x="56" y="84"/>
                    <a:pt x="59" y="74"/>
                    <a:pt x="59" y="61"/>
                  </a:cubicBezTo>
                  <a:cubicBezTo>
                    <a:pt x="59" y="49"/>
                    <a:pt x="56" y="40"/>
                    <a:pt x="50" y="34"/>
                  </a:cubicBezTo>
                  <a:cubicBezTo>
                    <a:pt x="44" y="28"/>
                    <a:pt x="36" y="25"/>
                    <a:pt x="26" y="25"/>
                  </a:cubicBezTo>
                  <a:lnTo>
                    <a:pt x="18" y="25"/>
                  </a:lnTo>
                  <a:lnTo>
                    <a:pt x="18" y="99"/>
                  </a:lnTo>
                  <a:lnTo>
                    <a:pt x="26" y="99"/>
                  </a:lnTo>
                  <a:close/>
                  <a:moveTo>
                    <a:pt x="0" y="10"/>
                  </a:moveTo>
                  <a:lnTo>
                    <a:pt x="27" y="10"/>
                  </a:lnTo>
                  <a:cubicBezTo>
                    <a:pt x="43" y="10"/>
                    <a:pt x="55" y="14"/>
                    <a:pt x="64" y="23"/>
                  </a:cubicBezTo>
                  <a:cubicBezTo>
                    <a:pt x="73" y="32"/>
                    <a:pt x="78" y="44"/>
                    <a:pt x="78" y="61"/>
                  </a:cubicBezTo>
                  <a:cubicBezTo>
                    <a:pt x="78" y="70"/>
                    <a:pt x="76" y="78"/>
                    <a:pt x="74" y="84"/>
                  </a:cubicBezTo>
                  <a:cubicBezTo>
                    <a:pt x="72" y="91"/>
                    <a:pt x="69" y="96"/>
                    <a:pt x="64" y="100"/>
                  </a:cubicBezTo>
                  <a:cubicBezTo>
                    <a:pt x="60" y="105"/>
                    <a:pt x="55" y="108"/>
                    <a:pt x="49" y="110"/>
                  </a:cubicBezTo>
                  <a:cubicBezTo>
                    <a:pt x="43" y="113"/>
                    <a:pt x="36" y="114"/>
                    <a:pt x="28" y="114"/>
                  </a:cubicBezTo>
                  <a:lnTo>
                    <a:pt x="0" y="114"/>
                  </a:lnTo>
                  <a:lnTo>
                    <a:pt x="0" y="10"/>
                  </a:lnTo>
                </a:path>
              </a:pathLst>
            </a:custGeom>
            <a:solidFill>
              <a:srgbClr val="0068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66">
              <a:extLst>
                <a:ext uri="{FF2B5EF4-FFF2-40B4-BE49-F238E27FC236}">
                  <a16:creationId xmlns:a16="http://schemas.microsoft.com/office/drawing/2014/main" id="{EA330EBB-19BF-4BFB-993C-70D9C944A0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0647" y="2208066"/>
              <a:ext cx="17499" cy="89084"/>
            </a:xfrm>
            <a:custGeom>
              <a:avLst/>
              <a:gdLst>
                <a:gd name="T0" fmla="*/ 2 w 22"/>
                <a:gd name="T1" fmla="*/ 34 h 112"/>
                <a:gd name="T2" fmla="*/ 20 w 22"/>
                <a:gd name="T3" fmla="*/ 34 h 112"/>
                <a:gd name="T4" fmla="*/ 20 w 22"/>
                <a:gd name="T5" fmla="*/ 112 h 112"/>
                <a:gd name="T6" fmla="*/ 2 w 22"/>
                <a:gd name="T7" fmla="*/ 112 h 112"/>
                <a:gd name="T8" fmla="*/ 2 w 22"/>
                <a:gd name="T9" fmla="*/ 34 h 112"/>
                <a:gd name="T10" fmla="*/ 11 w 22"/>
                <a:gd name="T11" fmla="*/ 21 h 112"/>
                <a:gd name="T12" fmla="*/ 3 w 22"/>
                <a:gd name="T13" fmla="*/ 18 h 112"/>
                <a:gd name="T14" fmla="*/ 0 w 22"/>
                <a:gd name="T15" fmla="*/ 10 h 112"/>
                <a:gd name="T16" fmla="*/ 3 w 22"/>
                <a:gd name="T17" fmla="*/ 3 h 112"/>
                <a:gd name="T18" fmla="*/ 11 w 22"/>
                <a:gd name="T19" fmla="*/ 0 h 112"/>
                <a:gd name="T20" fmla="*/ 19 w 22"/>
                <a:gd name="T21" fmla="*/ 3 h 112"/>
                <a:gd name="T22" fmla="*/ 22 w 22"/>
                <a:gd name="T23" fmla="*/ 10 h 112"/>
                <a:gd name="T24" fmla="*/ 19 w 22"/>
                <a:gd name="T25" fmla="*/ 18 h 112"/>
                <a:gd name="T26" fmla="*/ 11 w 22"/>
                <a:gd name="T27" fmla="*/ 2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112">
                  <a:moveTo>
                    <a:pt x="2" y="34"/>
                  </a:moveTo>
                  <a:lnTo>
                    <a:pt x="20" y="34"/>
                  </a:lnTo>
                  <a:lnTo>
                    <a:pt x="20" y="112"/>
                  </a:lnTo>
                  <a:lnTo>
                    <a:pt x="2" y="112"/>
                  </a:lnTo>
                  <a:lnTo>
                    <a:pt x="2" y="34"/>
                  </a:lnTo>
                  <a:close/>
                  <a:moveTo>
                    <a:pt x="11" y="21"/>
                  </a:moveTo>
                  <a:cubicBezTo>
                    <a:pt x="8" y="21"/>
                    <a:pt x="5" y="20"/>
                    <a:pt x="3" y="18"/>
                  </a:cubicBezTo>
                  <a:cubicBezTo>
                    <a:pt x="1" y="16"/>
                    <a:pt x="0" y="13"/>
                    <a:pt x="0" y="10"/>
                  </a:cubicBezTo>
                  <a:cubicBezTo>
                    <a:pt x="0" y="7"/>
                    <a:pt x="1" y="5"/>
                    <a:pt x="3" y="3"/>
                  </a:cubicBezTo>
                  <a:cubicBezTo>
                    <a:pt x="5" y="1"/>
                    <a:pt x="8" y="0"/>
                    <a:pt x="11" y="0"/>
                  </a:cubicBezTo>
                  <a:cubicBezTo>
                    <a:pt x="14" y="0"/>
                    <a:pt x="17" y="1"/>
                    <a:pt x="19" y="3"/>
                  </a:cubicBezTo>
                  <a:cubicBezTo>
                    <a:pt x="21" y="5"/>
                    <a:pt x="22" y="7"/>
                    <a:pt x="22" y="10"/>
                  </a:cubicBezTo>
                  <a:cubicBezTo>
                    <a:pt x="22" y="13"/>
                    <a:pt x="21" y="16"/>
                    <a:pt x="19" y="18"/>
                  </a:cubicBezTo>
                  <a:cubicBezTo>
                    <a:pt x="17" y="20"/>
                    <a:pt x="14" y="21"/>
                    <a:pt x="11" y="21"/>
                  </a:cubicBezTo>
                  <a:close/>
                </a:path>
              </a:pathLst>
            </a:custGeom>
            <a:solidFill>
              <a:srgbClr val="0068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67">
              <a:extLst>
                <a:ext uri="{FF2B5EF4-FFF2-40B4-BE49-F238E27FC236}">
                  <a16:creationId xmlns:a16="http://schemas.microsoft.com/office/drawing/2014/main" id="{368C3B6B-C481-423F-AD65-A524EC46222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5645" y="2233519"/>
              <a:ext cx="89084" cy="63632"/>
            </a:xfrm>
            <a:custGeom>
              <a:avLst/>
              <a:gdLst>
                <a:gd name="T0" fmla="*/ 0 w 111"/>
                <a:gd name="T1" fmla="*/ 2 h 80"/>
                <a:gd name="T2" fmla="*/ 15 w 111"/>
                <a:gd name="T3" fmla="*/ 2 h 80"/>
                <a:gd name="T4" fmla="*/ 16 w 111"/>
                <a:gd name="T5" fmla="*/ 13 h 80"/>
                <a:gd name="T6" fmla="*/ 17 w 111"/>
                <a:gd name="T7" fmla="*/ 13 h 80"/>
                <a:gd name="T8" fmla="*/ 28 w 111"/>
                <a:gd name="T9" fmla="*/ 4 h 80"/>
                <a:gd name="T10" fmla="*/ 41 w 111"/>
                <a:gd name="T11" fmla="*/ 0 h 80"/>
                <a:gd name="T12" fmla="*/ 54 w 111"/>
                <a:gd name="T13" fmla="*/ 4 h 80"/>
                <a:gd name="T14" fmla="*/ 62 w 111"/>
                <a:gd name="T15" fmla="*/ 14 h 80"/>
                <a:gd name="T16" fmla="*/ 74 w 111"/>
                <a:gd name="T17" fmla="*/ 4 h 80"/>
                <a:gd name="T18" fmla="*/ 87 w 111"/>
                <a:gd name="T19" fmla="*/ 0 h 80"/>
                <a:gd name="T20" fmla="*/ 106 w 111"/>
                <a:gd name="T21" fmla="*/ 8 h 80"/>
                <a:gd name="T22" fmla="*/ 111 w 111"/>
                <a:gd name="T23" fmla="*/ 31 h 80"/>
                <a:gd name="T24" fmla="*/ 111 w 111"/>
                <a:gd name="T25" fmla="*/ 80 h 80"/>
                <a:gd name="T26" fmla="*/ 93 w 111"/>
                <a:gd name="T27" fmla="*/ 80 h 80"/>
                <a:gd name="T28" fmla="*/ 93 w 111"/>
                <a:gd name="T29" fmla="*/ 34 h 80"/>
                <a:gd name="T30" fmla="*/ 90 w 111"/>
                <a:gd name="T31" fmla="*/ 20 h 80"/>
                <a:gd name="T32" fmla="*/ 81 w 111"/>
                <a:gd name="T33" fmla="*/ 16 h 80"/>
                <a:gd name="T34" fmla="*/ 65 w 111"/>
                <a:gd name="T35" fmla="*/ 26 h 80"/>
                <a:gd name="T36" fmla="*/ 65 w 111"/>
                <a:gd name="T37" fmla="*/ 80 h 80"/>
                <a:gd name="T38" fmla="*/ 47 w 111"/>
                <a:gd name="T39" fmla="*/ 80 h 80"/>
                <a:gd name="T40" fmla="*/ 47 w 111"/>
                <a:gd name="T41" fmla="*/ 34 h 80"/>
                <a:gd name="T42" fmla="*/ 44 w 111"/>
                <a:gd name="T43" fmla="*/ 20 h 80"/>
                <a:gd name="T44" fmla="*/ 35 w 111"/>
                <a:gd name="T45" fmla="*/ 16 h 80"/>
                <a:gd name="T46" fmla="*/ 18 w 111"/>
                <a:gd name="T47" fmla="*/ 26 h 80"/>
                <a:gd name="T48" fmla="*/ 18 w 111"/>
                <a:gd name="T49" fmla="*/ 80 h 80"/>
                <a:gd name="T50" fmla="*/ 0 w 111"/>
                <a:gd name="T51" fmla="*/ 80 h 80"/>
                <a:gd name="T52" fmla="*/ 0 w 111"/>
                <a:gd name="T53" fmla="*/ 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1" h="80">
                  <a:moveTo>
                    <a:pt x="0" y="2"/>
                  </a:moveTo>
                  <a:lnTo>
                    <a:pt x="15" y="2"/>
                  </a:lnTo>
                  <a:lnTo>
                    <a:pt x="16" y="13"/>
                  </a:lnTo>
                  <a:lnTo>
                    <a:pt x="17" y="13"/>
                  </a:lnTo>
                  <a:cubicBezTo>
                    <a:pt x="20" y="9"/>
                    <a:pt x="24" y="6"/>
                    <a:pt x="28" y="4"/>
                  </a:cubicBezTo>
                  <a:cubicBezTo>
                    <a:pt x="32" y="2"/>
                    <a:pt x="36" y="0"/>
                    <a:pt x="41" y="0"/>
                  </a:cubicBezTo>
                  <a:cubicBezTo>
                    <a:pt x="46" y="0"/>
                    <a:pt x="51" y="2"/>
                    <a:pt x="54" y="4"/>
                  </a:cubicBezTo>
                  <a:cubicBezTo>
                    <a:pt x="58" y="6"/>
                    <a:pt x="61" y="10"/>
                    <a:pt x="62" y="14"/>
                  </a:cubicBezTo>
                  <a:cubicBezTo>
                    <a:pt x="66" y="10"/>
                    <a:pt x="70" y="7"/>
                    <a:pt x="74" y="4"/>
                  </a:cubicBezTo>
                  <a:cubicBezTo>
                    <a:pt x="78" y="2"/>
                    <a:pt x="82" y="0"/>
                    <a:pt x="87" y="0"/>
                  </a:cubicBezTo>
                  <a:cubicBezTo>
                    <a:pt x="96" y="0"/>
                    <a:pt x="102" y="3"/>
                    <a:pt x="106" y="8"/>
                  </a:cubicBezTo>
                  <a:cubicBezTo>
                    <a:pt x="109" y="14"/>
                    <a:pt x="111" y="21"/>
                    <a:pt x="111" y="31"/>
                  </a:cubicBezTo>
                  <a:lnTo>
                    <a:pt x="111" y="80"/>
                  </a:lnTo>
                  <a:lnTo>
                    <a:pt x="93" y="80"/>
                  </a:lnTo>
                  <a:lnTo>
                    <a:pt x="93" y="34"/>
                  </a:lnTo>
                  <a:cubicBezTo>
                    <a:pt x="93" y="27"/>
                    <a:pt x="92" y="23"/>
                    <a:pt x="90" y="20"/>
                  </a:cubicBezTo>
                  <a:cubicBezTo>
                    <a:pt x="88" y="17"/>
                    <a:pt x="85" y="16"/>
                    <a:pt x="81" y="16"/>
                  </a:cubicBezTo>
                  <a:cubicBezTo>
                    <a:pt x="76" y="16"/>
                    <a:pt x="71" y="19"/>
                    <a:pt x="65" y="26"/>
                  </a:cubicBezTo>
                  <a:lnTo>
                    <a:pt x="65" y="80"/>
                  </a:lnTo>
                  <a:lnTo>
                    <a:pt x="47" y="80"/>
                  </a:lnTo>
                  <a:lnTo>
                    <a:pt x="47" y="34"/>
                  </a:lnTo>
                  <a:cubicBezTo>
                    <a:pt x="47" y="27"/>
                    <a:pt x="46" y="23"/>
                    <a:pt x="44" y="20"/>
                  </a:cubicBezTo>
                  <a:cubicBezTo>
                    <a:pt x="42" y="17"/>
                    <a:pt x="39" y="16"/>
                    <a:pt x="35" y="16"/>
                  </a:cubicBezTo>
                  <a:cubicBezTo>
                    <a:pt x="30" y="16"/>
                    <a:pt x="24" y="19"/>
                    <a:pt x="18" y="26"/>
                  </a:cubicBezTo>
                  <a:lnTo>
                    <a:pt x="18" y="80"/>
                  </a:lnTo>
                  <a:lnTo>
                    <a:pt x="0" y="80"/>
                  </a:lnTo>
                  <a:lnTo>
                    <a:pt x="0" y="2"/>
                  </a:lnTo>
                </a:path>
              </a:pathLst>
            </a:custGeom>
            <a:solidFill>
              <a:srgbClr val="0068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68">
              <a:extLst>
                <a:ext uri="{FF2B5EF4-FFF2-40B4-BE49-F238E27FC236}">
                  <a16:creationId xmlns:a16="http://schemas.microsoft.com/office/drawing/2014/main" id="{83DA62E5-AD24-465B-B1AE-E6584A3CD7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19271" y="2214429"/>
              <a:ext cx="60450" cy="82721"/>
            </a:xfrm>
            <a:custGeom>
              <a:avLst/>
              <a:gdLst>
                <a:gd name="T0" fmla="*/ 33 w 75"/>
                <a:gd name="T1" fmla="*/ 90 h 104"/>
                <a:gd name="T2" fmla="*/ 51 w 75"/>
                <a:gd name="T3" fmla="*/ 86 h 104"/>
                <a:gd name="T4" fmla="*/ 57 w 75"/>
                <a:gd name="T5" fmla="*/ 72 h 104"/>
                <a:gd name="T6" fmla="*/ 51 w 75"/>
                <a:gd name="T7" fmla="*/ 60 h 104"/>
                <a:gd name="T8" fmla="*/ 33 w 75"/>
                <a:gd name="T9" fmla="*/ 57 h 104"/>
                <a:gd name="T10" fmla="*/ 18 w 75"/>
                <a:gd name="T11" fmla="*/ 57 h 104"/>
                <a:gd name="T12" fmla="*/ 18 w 75"/>
                <a:gd name="T13" fmla="*/ 90 h 104"/>
                <a:gd name="T14" fmla="*/ 33 w 75"/>
                <a:gd name="T15" fmla="*/ 90 h 104"/>
                <a:gd name="T16" fmla="*/ 31 w 75"/>
                <a:gd name="T17" fmla="*/ 43 h 104"/>
                <a:gd name="T18" fmla="*/ 47 w 75"/>
                <a:gd name="T19" fmla="*/ 39 h 104"/>
                <a:gd name="T20" fmla="*/ 52 w 75"/>
                <a:gd name="T21" fmla="*/ 28 h 104"/>
                <a:gd name="T22" fmla="*/ 47 w 75"/>
                <a:gd name="T23" fmla="*/ 18 h 104"/>
                <a:gd name="T24" fmla="*/ 31 w 75"/>
                <a:gd name="T25" fmla="*/ 15 h 104"/>
                <a:gd name="T26" fmla="*/ 18 w 75"/>
                <a:gd name="T27" fmla="*/ 15 h 104"/>
                <a:gd name="T28" fmla="*/ 18 w 75"/>
                <a:gd name="T29" fmla="*/ 43 h 104"/>
                <a:gd name="T30" fmla="*/ 31 w 75"/>
                <a:gd name="T31" fmla="*/ 43 h 104"/>
                <a:gd name="T32" fmla="*/ 0 w 75"/>
                <a:gd name="T33" fmla="*/ 0 h 104"/>
                <a:gd name="T34" fmla="*/ 33 w 75"/>
                <a:gd name="T35" fmla="*/ 0 h 104"/>
                <a:gd name="T36" fmla="*/ 47 w 75"/>
                <a:gd name="T37" fmla="*/ 2 h 104"/>
                <a:gd name="T38" fmla="*/ 59 w 75"/>
                <a:gd name="T39" fmla="*/ 6 h 104"/>
                <a:gd name="T40" fmla="*/ 67 w 75"/>
                <a:gd name="T41" fmla="*/ 14 h 104"/>
                <a:gd name="T42" fmla="*/ 70 w 75"/>
                <a:gd name="T43" fmla="*/ 26 h 104"/>
                <a:gd name="T44" fmla="*/ 65 w 75"/>
                <a:gd name="T45" fmla="*/ 40 h 104"/>
                <a:gd name="T46" fmla="*/ 52 w 75"/>
                <a:gd name="T47" fmla="*/ 48 h 104"/>
                <a:gd name="T48" fmla="*/ 52 w 75"/>
                <a:gd name="T49" fmla="*/ 49 h 104"/>
                <a:gd name="T50" fmla="*/ 69 w 75"/>
                <a:gd name="T51" fmla="*/ 57 h 104"/>
                <a:gd name="T52" fmla="*/ 75 w 75"/>
                <a:gd name="T53" fmla="*/ 74 h 104"/>
                <a:gd name="T54" fmla="*/ 72 w 75"/>
                <a:gd name="T55" fmla="*/ 87 h 104"/>
                <a:gd name="T56" fmla="*/ 64 w 75"/>
                <a:gd name="T57" fmla="*/ 97 h 104"/>
                <a:gd name="T58" fmla="*/ 51 w 75"/>
                <a:gd name="T59" fmla="*/ 102 h 104"/>
                <a:gd name="T60" fmla="*/ 35 w 75"/>
                <a:gd name="T61" fmla="*/ 104 h 104"/>
                <a:gd name="T62" fmla="*/ 0 w 75"/>
                <a:gd name="T63" fmla="*/ 104 h 104"/>
                <a:gd name="T64" fmla="*/ 0 w 75"/>
                <a:gd name="T6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5" h="104">
                  <a:moveTo>
                    <a:pt x="33" y="90"/>
                  </a:moveTo>
                  <a:cubicBezTo>
                    <a:pt x="41" y="90"/>
                    <a:pt x="47" y="88"/>
                    <a:pt x="51" y="86"/>
                  </a:cubicBezTo>
                  <a:cubicBezTo>
                    <a:pt x="55" y="83"/>
                    <a:pt x="57" y="78"/>
                    <a:pt x="57" y="72"/>
                  </a:cubicBezTo>
                  <a:cubicBezTo>
                    <a:pt x="57" y="67"/>
                    <a:pt x="55" y="63"/>
                    <a:pt x="51" y="60"/>
                  </a:cubicBezTo>
                  <a:cubicBezTo>
                    <a:pt x="47" y="58"/>
                    <a:pt x="41" y="57"/>
                    <a:pt x="33" y="57"/>
                  </a:cubicBezTo>
                  <a:lnTo>
                    <a:pt x="18" y="57"/>
                  </a:lnTo>
                  <a:lnTo>
                    <a:pt x="18" y="90"/>
                  </a:lnTo>
                  <a:lnTo>
                    <a:pt x="33" y="90"/>
                  </a:lnTo>
                  <a:close/>
                  <a:moveTo>
                    <a:pt x="31" y="43"/>
                  </a:moveTo>
                  <a:cubicBezTo>
                    <a:pt x="38" y="43"/>
                    <a:pt x="44" y="42"/>
                    <a:pt x="47" y="39"/>
                  </a:cubicBezTo>
                  <a:cubicBezTo>
                    <a:pt x="50" y="37"/>
                    <a:pt x="52" y="33"/>
                    <a:pt x="52" y="28"/>
                  </a:cubicBezTo>
                  <a:cubicBezTo>
                    <a:pt x="52" y="23"/>
                    <a:pt x="50" y="20"/>
                    <a:pt x="47" y="18"/>
                  </a:cubicBezTo>
                  <a:cubicBezTo>
                    <a:pt x="43" y="16"/>
                    <a:pt x="38" y="15"/>
                    <a:pt x="31" y="15"/>
                  </a:cubicBezTo>
                  <a:lnTo>
                    <a:pt x="18" y="15"/>
                  </a:lnTo>
                  <a:lnTo>
                    <a:pt x="18" y="43"/>
                  </a:lnTo>
                  <a:lnTo>
                    <a:pt x="31" y="43"/>
                  </a:lnTo>
                  <a:close/>
                  <a:moveTo>
                    <a:pt x="0" y="0"/>
                  </a:moveTo>
                  <a:lnTo>
                    <a:pt x="33" y="0"/>
                  </a:lnTo>
                  <a:cubicBezTo>
                    <a:pt x="38" y="0"/>
                    <a:pt x="43" y="1"/>
                    <a:pt x="47" y="2"/>
                  </a:cubicBezTo>
                  <a:cubicBezTo>
                    <a:pt x="52" y="3"/>
                    <a:pt x="56" y="4"/>
                    <a:pt x="59" y="6"/>
                  </a:cubicBezTo>
                  <a:cubicBezTo>
                    <a:pt x="63" y="8"/>
                    <a:pt x="65" y="11"/>
                    <a:pt x="67" y="14"/>
                  </a:cubicBezTo>
                  <a:cubicBezTo>
                    <a:pt x="69" y="17"/>
                    <a:pt x="70" y="21"/>
                    <a:pt x="70" y="26"/>
                  </a:cubicBezTo>
                  <a:cubicBezTo>
                    <a:pt x="70" y="31"/>
                    <a:pt x="68" y="36"/>
                    <a:pt x="65" y="40"/>
                  </a:cubicBezTo>
                  <a:cubicBezTo>
                    <a:pt x="62" y="44"/>
                    <a:pt x="58" y="47"/>
                    <a:pt x="52" y="48"/>
                  </a:cubicBezTo>
                  <a:lnTo>
                    <a:pt x="52" y="49"/>
                  </a:lnTo>
                  <a:cubicBezTo>
                    <a:pt x="59" y="50"/>
                    <a:pt x="65" y="53"/>
                    <a:pt x="69" y="57"/>
                  </a:cubicBezTo>
                  <a:cubicBezTo>
                    <a:pt x="73" y="61"/>
                    <a:pt x="75" y="67"/>
                    <a:pt x="75" y="74"/>
                  </a:cubicBezTo>
                  <a:cubicBezTo>
                    <a:pt x="75" y="79"/>
                    <a:pt x="74" y="83"/>
                    <a:pt x="72" y="87"/>
                  </a:cubicBezTo>
                  <a:cubicBezTo>
                    <a:pt x="70" y="91"/>
                    <a:pt x="67" y="94"/>
                    <a:pt x="64" y="97"/>
                  </a:cubicBezTo>
                  <a:cubicBezTo>
                    <a:pt x="60" y="99"/>
                    <a:pt x="56" y="101"/>
                    <a:pt x="51" y="102"/>
                  </a:cubicBezTo>
                  <a:cubicBezTo>
                    <a:pt x="46" y="103"/>
                    <a:pt x="41" y="104"/>
                    <a:pt x="35" y="104"/>
                  </a:cubicBezTo>
                  <a:lnTo>
                    <a:pt x="0" y="104"/>
                  </a:lnTo>
                  <a:lnTo>
                    <a:pt x="0" y="0"/>
                  </a:lnTo>
                </a:path>
              </a:pathLst>
            </a:custGeom>
            <a:solidFill>
              <a:srgbClr val="0068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69">
              <a:extLst>
                <a:ext uri="{FF2B5EF4-FFF2-40B4-BE49-F238E27FC236}">
                  <a16:creationId xmlns:a16="http://schemas.microsoft.com/office/drawing/2014/main" id="{CB225546-AC65-478B-A0C1-1D0AED1586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94038" y="2214429"/>
              <a:ext cx="62041" cy="82721"/>
            </a:xfrm>
            <a:custGeom>
              <a:avLst/>
              <a:gdLst>
                <a:gd name="T0" fmla="*/ 27 w 78"/>
                <a:gd name="T1" fmla="*/ 89 h 104"/>
                <a:gd name="T2" fmla="*/ 51 w 78"/>
                <a:gd name="T3" fmla="*/ 80 h 104"/>
                <a:gd name="T4" fmla="*/ 59 w 78"/>
                <a:gd name="T5" fmla="*/ 52 h 104"/>
                <a:gd name="T6" fmla="*/ 51 w 78"/>
                <a:gd name="T7" fmla="*/ 24 h 104"/>
                <a:gd name="T8" fmla="*/ 27 w 78"/>
                <a:gd name="T9" fmla="*/ 15 h 104"/>
                <a:gd name="T10" fmla="*/ 18 w 78"/>
                <a:gd name="T11" fmla="*/ 15 h 104"/>
                <a:gd name="T12" fmla="*/ 18 w 78"/>
                <a:gd name="T13" fmla="*/ 89 h 104"/>
                <a:gd name="T14" fmla="*/ 27 w 78"/>
                <a:gd name="T15" fmla="*/ 89 h 104"/>
                <a:gd name="T16" fmla="*/ 0 w 78"/>
                <a:gd name="T17" fmla="*/ 0 h 104"/>
                <a:gd name="T18" fmla="*/ 28 w 78"/>
                <a:gd name="T19" fmla="*/ 0 h 104"/>
                <a:gd name="T20" fmla="*/ 65 w 78"/>
                <a:gd name="T21" fmla="*/ 13 h 104"/>
                <a:gd name="T22" fmla="*/ 78 w 78"/>
                <a:gd name="T23" fmla="*/ 52 h 104"/>
                <a:gd name="T24" fmla="*/ 75 w 78"/>
                <a:gd name="T25" fmla="*/ 74 h 104"/>
                <a:gd name="T26" fmla="*/ 65 w 78"/>
                <a:gd name="T27" fmla="*/ 91 h 104"/>
                <a:gd name="T28" fmla="*/ 49 w 78"/>
                <a:gd name="T29" fmla="*/ 101 h 104"/>
                <a:gd name="T30" fmla="*/ 29 w 78"/>
                <a:gd name="T31" fmla="*/ 104 h 104"/>
                <a:gd name="T32" fmla="*/ 0 w 78"/>
                <a:gd name="T33" fmla="*/ 104 h 104"/>
                <a:gd name="T34" fmla="*/ 0 w 78"/>
                <a:gd name="T3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4">
                  <a:moveTo>
                    <a:pt x="27" y="89"/>
                  </a:moveTo>
                  <a:cubicBezTo>
                    <a:pt x="37" y="89"/>
                    <a:pt x="45" y="86"/>
                    <a:pt x="51" y="80"/>
                  </a:cubicBezTo>
                  <a:cubicBezTo>
                    <a:pt x="57" y="74"/>
                    <a:pt x="59" y="65"/>
                    <a:pt x="59" y="52"/>
                  </a:cubicBezTo>
                  <a:cubicBezTo>
                    <a:pt x="59" y="39"/>
                    <a:pt x="56" y="30"/>
                    <a:pt x="51" y="24"/>
                  </a:cubicBezTo>
                  <a:cubicBezTo>
                    <a:pt x="45" y="18"/>
                    <a:pt x="37" y="15"/>
                    <a:pt x="27" y="15"/>
                  </a:cubicBezTo>
                  <a:lnTo>
                    <a:pt x="18" y="15"/>
                  </a:lnTo>
                  <a:lnTo>
                    <a:pt x="18" y="89"/>
                  </a:lnTo>
                  <a:lnTo>
                    <a:pt x="27" y="89"/>
                  </a:lnTo>
                  <a:close/>
                  <a:moveTo>
                    <a:pt x="0" y="0"/>
                  </a:moveTo>
                  <a:lnTo>
                    <a:pt x="28" y="0"/>
                  </a:lnTo>
                  <a:cubicBezTo>
                    <a:pt x="44" y="0"/>
                    <a:pt x="56" y="5"/>
                    <a:pt x="65" y="13"/>
                  </a:cubicBezTo>
                  <a:cubicBezTo>
                    <a:pt x="74" y="22"/>
                    <a:pt x="78" y="35"/>
                    <a:pt x="78" y="52"/>
                  </a:cubicBezTo>
                  <a:cubicBezTo>
                    <a:pt x="78" y="60"/>
                    <a:pt x="77" y="68"/>
                    <a:pt x="75" y="74"/>
                  </a:cubicBezTo>
                  <a:cubicBezTo>
                    <a:pt x="73" y="81"/>
                    <a:pt x="69" y="86"/>
                    <a:pt x="65" y="91"/>
                  </a:cubicBezTo>
                  <a:cubicBezTo>
                    <a:pt x="61" y="95"/>
                    <a:pt x="56" y="98"/>
                    <a:pt x="49" y="101"/>
                  </a:cubicBezTo>
                  <a:cubicBezTo>
                    <a:pt x="43" y="103"/>
                    <a:pt x="36" y="104"/>
                    <a:pt x="29" y="104"/>
                  </a:cubicBezTo>
                  <a:lnTo>
                    <a:pt x="0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8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70">
              <a:extLst>
                <a:ext uri="{FF2B5EF4-FFF2-40B4-BE49-F238E27FC236}">
                  <a16:creationId xmlns:a16="http://schemas.microsoft.com/office/drawing/2014/main" id="{543E70FB-055E-4A06-8E75-07ECA3357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3577" y="2214429"/>
              <a:ext cx="50905" cy="82721"/>
            </a:xfrm>
            <a:custGeom>
              <a:avLst/>
              <a:gdLst>
                <a:gd name="T0" fmla="*/ 0 w 32"/>
                <a:gd name="T1" fmla="*/ 0 h 52"/>
                <a:gd name="T2" fmla="*/ 31 w 32"/>
                <a:gd name="T3" fmla="*/ 0 h 52"/>
                <a:gd name="T4" fmla="*/ 31 w 32"/>
                <a:gd name="T5" fmla="*/ 8 h 52"/>
                <a:gd name="T6" fmla="*/ 9 w 32"/>
                <a:gd name="T7" fmla="*/ 8 h 52"/>
                <a:gd name="T8" fmla="*/ 9 w 32"/>
                <a:gd name="T9" fmla="*/ 21 h 52"/>
                <a:gd name="T10" fmla="*/ 28 w 32"/>
                <a:gd name="T11" fmla="*/ 21 h 52"/>
                <a:gd name="T12" fmla="*/ 28 w 32"/>
                <a:gd name="T13" fmla="*/ 29 h 52"/>
                <a:gd name="T14" fmla="*/ 9 w 32"/>
                <a:gd name="T15" fmla="*/ 29 h 52"/>
                <a:gd name="T16" fmla="*/ 9 w 32"/>
                <a:gd name="T17" fmla="*/ 45 h 52"/>
                <a:gd name="T18" fmla="*/ 32 w 32"/>
                <a:gd name="T19" fmla="*/ 45 h 52"/>
                <a:gd name="T20" fmla="*/ 32 w 32"/>
                <a:gd name="T21" fmla="*/ 52 h 52"/>
                <a:gd name="T22" fmla="*/ 0 w 32"/>
                <a:gd name="T23" fmla="*/ 52 h 52"/>
                <a:gd name="T24" fmla="*/ 0 w 32"/>
                <a:gd name="T2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52">
                  <a:moveTo>
                    <a:pt x="0" y="0"/>
                  </a:moveTo>
                  <a:lnTo>
                    <a:pt x="31" y="0"/>
                  </a:lnTo>
                  <a:lnTo>
                    <a:pt x="31" y="8"/>
                  </a:lnTo>
                  <a:lnTo>
                    <a:pt x="9" y="8"/>
                  </a:lnTo>
                  <a:lnTo>
                    <a:pt x="9" y="21"/>
                  </a:lnTo>
                  <a:lnTo>
                    <a:pt x="28" y="21"/>
                  </a:lnTo>
                  <a:lnTo>
                    <a:pt x="28" y="29"/>
                  </a:lnTo>
                  <a:lnTo>
                    <a:pt x="9" y="29"/>
                  </a:lnTo>
                  <a:lnTo>
                    <a:pt x="9" y="45"/>
                  </a:lnTo>
                  <a:lnTo>
                    <a:pt x="32" y="45"/>
                  </a:lnTo>
                  <a:lnTo>
                    <a:pt x="32" y="52"/>
                  </a:lnTo>
                  <a:lnTo>
                    <a:pt x="0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8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71">
              <a:extLst>
                <a:ext uri="{FF2B5EF4-FFF2-40B4-BE49-F238E27FC236}">
                  <a16:creationId xmlns:a16="http://schemas.microsoft.com/office/drawing/2014/main" id="{8F4C0401-9D07-4DB4-A2DF-3CA96270A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2437" y="2214429"/>
              <a:ext cx="97038" cy="82721"/>
            </a:xfrm>
            <a:custGeom>
              <a:avLst/>
              <a:gdLst>
                <a:gd name="T0" fmla="*/ 0 w 121"/>
                <a:gd name="T1" fmla="*/ 0 h 104"/>
                <a:gd name="T2" fmla="*/ 19 w 121"/>
                <a:gd name="T3" fmla="*/ 0 h 104"/>
                <a:gd name="T4" fmla="*/ 28 w 121"/>
                <a:gd name="T5" fmla="*/ 53 h 104"/>
                <a:gd name="T6" fmla="*/ 30 w 121"/>
                <a:gd name="T7" fmla="*/ 69 h 104"/>
                <a:gd name="T8" fmla="*/ 33 w 121"/>
                <a:gd name="T9" fmla="*/ 86 h 104"/>
                <a:gd name="T10" fmla="*/ 34 w 121"/>
                <a:gd name="T11" fmla="*/ 86 h 104"/>
                <a:gd name="T12" fmla="*/ 37 w 121"/>
                <a:gd name="T13" fmla="*/ 69 h 104"/>
                <a:gd name="T14" fmla="*/ 40 w 121"/>
                <a:gd name="T15" fmla="*/ 53 h 104"/>
                <a:gd name="T16" fmla="*/ 53 w 121"/>
                <a:gd name="T17" fmla="*/ 0 h 104"/>
                <a:gd name="T18" fmla="*/ 69 w 121"/>
                <a:gd name="T19" fmla="*/ 0 h 104"/>
                <a:gd name="T20" fmla="*/ 82 w 121"/>
                <a:gd name="T21" fmla="*/ 53 h 104"/>
                <a:gd name="T22" fmla="*/ 85 w 121"/>
                <a:gd name="T23" fmla="*/ 69 h 104"/>
                <a:gd name="T24" fmla="*/ 89 w 121"/>
                <a:gd name="T25" fmla="*/ 86 h 104"/>
                <a:gd name="T26" fmla="*/ 89 w 121"/>
                <a:gd name="T27" fmla="*/ 86 h 104"/>
                <a:gd name="T28" fmla="*/ 92 w 121"/>
                <a:gd name="T29" fmla="*/ 69 h 104"/>
                <a:gd name="T30" fmla="*/ 94 w 121"/>
                <a:gd name="T31" fmla="*/ 53 h 104"/>
                <a:gd name="T32" fmla="*/ 103 w 121"/>
                <a:gd name="T33" fmla="*/ 0 h 104"/>
                <a:gd name="T34" fmla="*/ 121 w 121"/>
                <a:gd name="T35" fmla="*/ 0 h 104"/>
                <a:gd name="T36" fmla="*/ 101 w 121"/>
                <a:gd name="T37" fmla="*/ 104 h 104"/>
                <a:gd name="T38" fmla="*/ 78 w 121"/>
                <a:gd name="T39" fmla="*/ 104 h 104"/>
                <a:gd name="T40" fmla="*/ 65 w 121"/>
                <a:gd name="T41" fmla="*/ 50 h 104"/>
                <a:gd name="T42" fmla="*/ 63 w 121"/>
                <a:gd name="T43" fmla="*/ 38 h 104"/>
                <a:gd name="T44" fmla="*/ 61 w 121"/>
                <a:gd name="T45" fmla="*/ 26 h 104"/>
                <a:gd name="T46" fmla="*/ 60 w 121"/>
                <a:gd name="T47" fmla="*/ 26 h 104"/>
                <a:gd name="T48" fmla="*/ 58 w 121"/>
                <a:gd name="T49" fmla="*/ 38 h 104"/>
                <a:gd name="T50" fmla="*/ 55 w 121"/>
                <a:gd name="T51" fmla="*/ 50 h 104"/>
                <a:gd name="T52" fmla="*/ 43 w 121"/>
                <a:gd name="T53" fmla="*/ 104 h 104"/>
                <a:gd name="T54" fmla="*/ 21 w 121"/>
                <a:gd name="T55" fmla="*/ 104 h 104"/>
                <a:gd name="T56" fmla="*/ 0 w 121"/>
                <a:gd name="T5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1" h="104">
                  <a:moveTo>
                    <a:pt x="0" y="0"/>
                  </a:moveTo>
                  <a:lnTo>
                    <a:pt x="19" y="0"/>
                  </a:lnTo>
                  <a:lnTo>
                    <a:pt x="28" y="53"/>
                  </a:lnTo>
                  <a:cubicBezTo>
                    <a:pt x="29" y="58"/>
                    <a:pt x="30" y="64"/>
                    <a:pt x="30" y="69"/>
                  </a:cubicBezTo>
                  <a:cubicBezTo>
                    <a:pt x="31" y="75"/>
                    <a:pt x="32" y="80"/>
                    <a:pt x="33" y="86"/>
                  </a:cubicBezTo>
                  <a:lnTo>
                    <a:pt x="34" y="86"/>
                  </a:lnTo>
                  <a:cubicBezTo>
                    <a:pt x="35" y="80"/>
                    <a:pt x="36" y="75"/>
                    <a:pt x="37" y="69"/>
                  </a:cubicBezTo>
                  <a:cubicBezTo>
                    <a:pt x="38" y="64"/>
                    <a:pt x="39" y="58"/>
                    <a:pt x="40" y="53"/>
                  </a:cubicBezTo>
                  <a:lnTo>
                    <a:pt x="53" y="0"/>
                  </a:lnTo>
                  <a:lnTo>
                    <a:pt x="69" y="0"/>
                  </a:lnTo>
                  <a:lnTo>
                    <a:pt x="82" y="53"/>
                  </a:lnTo>
                  <a:cubicBezTo>
                    <a:pt x="83" y="58"/>
                    <a:pt x="84" y="64"/>
                    <a:pt x="85" y="69"/>
                  </a:cubicBezTo>
                  <a:cubicBezTo>
                    <a:pt x="86" y="75"/>
                    <a:pt x="87" y="80"/>
                    <a:pt x="89" y="86"/>
                  </a:cubicBezTo>
                  <a:lnTo>
                    <a:pt x="89" y="86"/>
                  </a:lnTo>
                  <a:cubicBezTo>
                    <a:pt x="90" y="80"/>
                    <a:pt x="91" y="75"/>
                    <a:pt x="92" y="69"/>
                  </a:cubicBezTo>
                  <a:cubicBezTo>
                    <a:pt x="93" y="64"/>
                    <a:pt x="93" y="58"/>
                    <a:pt x="94" y="53"/>
                  </a:cubicBezTo>
                  <a:lnTo>
                    <a:pt x="103" y="0"/>
                  </a:lnTo>
                  <a:lnTo>
                    <a:pt x="121" y="0"/>
                  </a:lnTo>
                  <a:lnTo>
                    <a:pt x="101" y="104"/>
                  </a:lnTo>
                  <a:lnTo>
                    <a:pt x="78" y="104"/>
                  </a:lnTo>
                  <a:lnTo>
                    <a:pt x="65" y="50"/>
                  </a:lnTo>
                  <a:cubicBezTo>
                    <a:pt x="65" y="46"/>
                    <a:pt x="64" y="42"/>
                    <a:pt x="63" y="38"/>
                  </a:cubicBezTo>
                  <a:cubicBezTo>
                    <a:pt x="62" y="34"/>
                    <a:pt x="61" y="30"/>
                    <a:pt x="61" y="26"/>
                  </a:cubicBezTo>
                  <a:lnTo>
                    <a:pt x="60" y="26"/>
                  </a:lnTo>
                  <a:cubicBezTo>
                    <a:pt x="59" y="30"/>
                    <a:pt x="59" y="34"/>
                    <a:pt x="58" y="38"/>
                  </a:cubicBezTo>
                  <a:cubicBezTo>
                    <a:pt x="57" y="42"/>
                    <a:pt x="56" y="46"/>
                    <a:pt x="55" y="50"/>
                  </a:cubicBezTo>
                  <a:lnTo>
                    <a:pt x="43" y="104"/>
                  </a:lnTo>
                  <a:lnTo>
                    <a:pt x="21" y="104"/>
                  </a:lnTo>
                  <a:lnTo>
                    <a:pt x="0" y="0"/>
                  </a:lnTo>
                </a:path>
              </a:pathLst>
            </a:custGeom>
            <a:solidFill>
              <a:srgbClr val="0068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6" name="Rechteck 25">
            <a:extLst>
              <a:ext uri="{FF2B5EF4-FFF2-40B4-BE49-F238E27FC236}">
                <a16:creationId xmlns:a16="http://schemas.microsoft.com/office/drawing/2014/main" id="{E148085C-DDB7-4D5D-8529-275F883D4067}"/>
              </a:ext>
            </a:extLst>
          </p:cNvPr>
          <p:cNvSpPr/>
          <p:nvPr/>
        </p:nvSpPr>
        <p:spPr>
          <a:xfrm>
            <a:off x="143223" y="144115"/>
            <a:ext cx="8928000" cy="4896000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36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F992884-C3B0-413E-B4E9-ADFB07B593D3}"/>
              </a:ext>
            </a:extLst>
          </p:cNvPr>
          <p:cNvSpPr txBox="1"/>
          <p:nvPr userDrawn="1"/>
        </p:nvSpPr>
        <p:spPr>
          <a:xfrm>
            <a:off x="431799" y="4680000"/>
            <a:ext cx="2880001" cy="144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de-DE" sz="800" dirty="0">
                <a:solidFill>
                  <a:schemeClr val="bg1"/>
                </a:solidFill>
              </a:rPr>
              <a:t>© BDEW Bundesverband der Energie- und Wasserwirtschaft e.V.</a:t>
            </a:r>
            <a:endParaRPr lang="de-DE" sz="1360" dirty="0">
              <a:solidFill>
                <a:schemeClr val="bg1"/>
              </a:solidFill>
            </a:endParaRP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D2CC212A-FF98-4C5C-8ED5-1563D63E111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538786" y="868025"/>
            <a:ext cx="1244600" cy="646113"/>
            <a:chOff x="7538786" y="868025"/>
            <a:chExt cx="1244600" cy="646113"/>
          </a:xfrm>
        </p:grpSpPr>
        <p:sp>
          <p:nvSpPr>
            <p:cNvPr id="35" name="Freeform 38">
              <a:extLst>
                <a:ext uri="{FF2B5EF4-FFF2-40B4-BE49-F238E27FC236}">
                  <a16:creationId xmlns:a16="http://schemas.microsoft.com/office/drawing/2014/main" id="{32B757FF-C49B-4103-9AF7-76DD1EBEC1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38786" y="1398250"/>
              <a:ext cx="1244600" cy="115888"/>
            </a:xfrm>
            <a:custGeom>
              <a:avLst/>
              <a:gdLst>
                <a:gd name="T0" fmla="*/ 1559 w 1559"/>
                <a:gd name="T1" fmla="*/ 104 h 146"/>
                <a:gd name="T2" fmla="*/ 1471 w 1559"/>
                <a:gd name="T3" fmla="*/ 48 h 146"/>
                <a:gd name="T4" fmla="*/ 1472 w 1559"/>
                <a:gd name="T5" fmla="*/ 114 h 146"/>
                <a:gd name="T6" fmla="*/ 1518 w 1559"/>
                <a:gd name="T7" fmla="*/ 114 h 146"/>
                <a:gd name="T8" fmla="*/ 1433 w 1559"/>
                <a:gd name="T9" fmla="*/ 74 h 146"/>
                <a:gd name="T10" fmla="*/ 1431 w 1559"/>
                <a:gd name="T11" fmla="*/ 92 h 146"/>
                <a:gd name="T12" fmla="*/ 1332 w 1559"/>
                <a:gd name="T13" fmla="*/ 75 h 146"/>
                <a:gd name="T14" fmla="*/ 1332 w 1559"/>
                <a:gd name="T15" fmla="*/ 75 h 146"/>
                <a:gd name="T16" fmla="*/ 1304 w 1559"/>
                <a:gd name="T17" fmla="*/ 2 h 146"/>
                <a:gd name="T18" fmla="*/ 1303 w 1559"/>
                <a:gd name="T19" fmla="*/ 108 h 146"/>
                <a:gd name="T20" fmla="*/ 1232 w 1559"/>
                <a:gd name="T21" fmla="*/ 51 h 146"/>
                <a:gd name="T22" fmla="*/ 1231 w 1559"/>
                <a:gd name="T23" fmla="*/ 115 h 146"/>
                <a:gd name="T24" fmla="*/ 1265 w 1559"/>
                <a:gd name="T25" fmla="*/ 80 h 146"/>
                <a:gd name="T26" fmla="*/ 1145 w 1559"/>
                <a:gd name="T27" fmla="*/ 11 h 146"/>
                <a:gd name="T28" fmla="*/ 1061 w 1559"/>
                <a:gd name="T29" fmla="*/ 92 h 146"/>
                <a:gd name="T30" fmla="*/ 1044 w 1559"/>
                <a:gd name="T31" fmla="*/ 37 h 146"/>
                <a:gd name="T32" fmla="*/ 1008 w 1559"/>
                <a:gd name="T33" fmla="*/ 56 h 146"/>
                <a:gd name="T34" fmla="*/ 1051 w 1559"/>
                <a:gd name="T35" fmla="*/ 54 h 146"/>
                <a:gd name="T36" fmla="*/ 970 w 1559"/>
                <a:gd name="T37" fmla="*/ 68 h 146"/>
                <a:gd name="T38" fmla="*/ 989 w 1559"/>
                <a:gd name="T39" fmla="*/ 108 h 146"/>
                <a:gd name="T40" fmla="*/ 990 w 1559"/>
                <a:gd name="T41" fmla="*/ 74 h 146"/>
                <a:gd name="T42" fmla="*/ 906 w 1559"/>
                <a:gd name="T43" fmla="*/ 57 h 146"/>
                <a:gd name="T44" fmla="*/ 892 w 1559"/>
                <a:gd name="T45" fmla="*/ 92 h 146"/>
                <a:gd name="T46" fmla="*/ 911 w 1559"/>
                <a:gd name="T47" fmla="*/ 91 h 146"/>
                <a:gd name="T48" fmla="*/ 837 w 1559"/>
                <a:gd name="T49" fmla="*/ 57 h 146"/>
                <a:gd name="T50" fmla="*/ 823 w 1559"/>
                <a:gd name="T51" fmla="*/ 92 h 146"/>
                <a:gd name="T52" fmla="*/ 843 w 1559"/>
                <a:gd name="T53" fmla="*/ 91 h 146"/>
                <a:gd name="T54" fmla="*/ 749 w 1559"/>
                <a:gd name="T55" fmla="*/ 80 h 146"/>
                <a:gd name="T56" fmla="*/ 765 w 1559"/>
                <a:gd name="T57" fmla="*/ 43 h 146"/>
                <a:gd name="T58" fmla="*/ 749 w 1559"/>
                <a:gd name="T59" fmla="*/ 61 h 146"/>
                <a:gd name="T60" fmla="*/ 751 w 1559"/>
                <a:gd name="T61" fmla="*/ 107 h 146"/>
                <a:gd name="T62" fmla="*/ 667 w 1559"/>
                <a:gd name="T63" fmla="*/ 61 h 146"/>
                <a:gd name="T64" fmla="*/ 613 w 1559"/>
                <a:gd name="T65" fmla="*/ 61 h 146"/>
                <a:gd name="T66" fmla="*/ 597 w 1559"/>
                <a:gd name="T67" fmla="*/ 114 h 146"/>
                <a:gd name="T68" fmla="*/ 650 w 1559"/>
                <a:gd name="T69" fmla="*/ 114 h 146"/>
                <a:gd name="T70" fmla="*/ 512 w 1559"/>
                <a:gd name="T71" fmla="*/ 104 h 146"/>
                <a:gd name="T72" fmla="*/ 464 w 1559"/>
                <a:gd name="T73" fmla="*/ 51 h 146"/>
                <a:gd name="T74" fmla="*/ 462 w 1559"/>
                <a:gd name="T75" fmla="*/ 115 h 146"/>
                <a:gd name="T76" fmla="*/ 496 w 1559"/>
                <a:gd name="T77" fmla="*/ 80 h 146"/>
                <a:gd name="T78" fmla="*/ 393 w 1559"/>
                <a:gd name="T79" fmla="*/ 38 h 146"/>
                <a:gd name="T80" fmla="*/ 391 w 1559"/>
                <a:gd name="T81" fmla="*/ 12 h 146"/>
                <a:gd name="T82" fmla="*/ 326 w 1559"/>
                <a:gd name="T83" fmla="*/ 75 h 146"/>
                <a:gd name="T84" fmla="*/ 355 w 1559"/>
                <a:gd name="T85" fmla="*/ 38 h 146"/>
                <a:gd name="T86" fmla="*/ 353 w 1559"/>
                <a:gd name="T87" fmla="*/ 103 h 146"/>
                <a:gd name="T88" fmla="*/ 310 w 1559"/>
                <a:gd name="T89" fmla="*/ 122 h 146"/>
                <a:gd name="T90" fmla="*/ 373 w 1559"/>
                <a:gd name="T91" fmla="*/ 56 h 146"/>
                <a:gd name="T92" fmla="*/ 269 w 1559"/>
                <a:gd name="T93" fmla="*/ 47 h 146"/>
                <a:gd name="T94" fmla="*/ 270 w 1559"/>
                <a:gd name="T95" fmla="*/ 114 h 146"/>
                <a:gd name="T96" fmla="*/ 211 w 1559"/>
                <a:gd name="T97" fmla="*/ 68 h 146"/>
                <a:gd name="T98" fmla="*/ 198 w 1559"/>
                <a:gd name="T99" fmla="*/ 36 h 146"/>
                <a:gd name="T100" fmla="*/ 200 w 1559"/>
                <a:gd name="T101" fmla="*/ 100 h 146"/>
                <a:gd name="T102" fmla="*/ 148 w 1559"/>
                <a:gd name="T103" fmla="*/ 62 h 146"/>
                <a:gd name="T104" fmla="*/ 81 w 1559"/>
                <a:gd name="T105" fmla="*/ 38 h 146"/>
                <a:gd name="T106" fmla="*/ 119 w 1559"/>
                <a:gd name="T107" fmla="*/ 54 h 146"/>
                <a:gd name="T108" fmla="*/ 66 w 1559"/>
                <a:gd name="T109" fmla="*/ 96 h 146"/>
                <a:gd name="T110" fmla="*/ 21 w 1559"/>
                <a:gd name="T111" fmla="*/ 52 h 146"/>
                <a:gd name="T112" fmla="*/ 0 w 1559"/>
                <a:gd name="T113" fmla="*/ 11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59" h="146">
                  <a:moveTo>
                    <a:pt x="1559" y="104"/>
                  </a:moveTo>
                  <a:cubicBezTo>
                    <a:pt x="1559" y="98"/>
                    <a:pt x="1556" y="92"/>
                    <a:pt x="1547" y="92"/>
                  </a:cubicBezTo>
                  <a:cubicBezTo>
                    <a:pt x="1539" y="92"/>
                    <a:pt x="1535" y="98"/>
                    <a:pt x="1535" y="104"/>
                  </a:cubicBezTo>
                  <a:cubicBezTo>
                    <a:pt x="1535" y="110"/>
                    <a:pt x="1539" y="116"/>
                    <a:pt x="1547" y="116"/>
                  </a:cubicBezTo>
                  <a:cubicBezTo>
                    <a:pt x="1556" y="116"/>
                    <a:pt x="1559" y="110"/>
                    <a:pt x="1559" y="104"/>
                  </a:cubicBezTo>
                  <a:close/>
                  <a:moveTo>
                    <a:pt x="1518" y="114"/>
                  </a:moveTo>
                  <a:lnTo>
                    <a:pt x="1518" y="62"/>
                  </a:lnTo>
                  <a:cubicBezTo>
                    <a:pt x="1518" y="55"/>
                    <a:pt x="1517" y="49"/>
                    <a:pt x="1514" y="45"/>
                  </a:cubicBezTo>
                  <a:cubicBezTo>
                    <a:pt x="1510" y="39"/>
                    <a:pt x="1504" y="36"/>
                    <a:pt x="1495" y="36"/>
                  </a:cubicBezTo>
                  <a:cubicBezTo>
                    <a:pt x="1485" y="36"/>
                    <a:pt x="1474" y="45"/>
                    <a:pt x="1471" y="48"/>
                  </a:cubicBezTo>
                  <a:cubicBezTo>
                    <a:pt x="1471" y="43"/>
                    <a:pt x="1470" y="38"/>
                    <a:pt x="1470" y="38"/>
                  </a:cubicBezTo>
                  <a:lnTo>
                    <a:pt x="1450" y="38"/>
                  </a:lnTo>
                  <a:cubicBezTo>
                    <a:pt x="1450" y="38"/>
                    <a:pt x="1451" y="47"/>
                    <a:pt x="1451" y="56"/>
                  </a:cubicBezTo>
                  <a:lnTo>
                    <a:pt x="1451" y="114"/>
                  </a:lnTo>
                  <a:lnTo>
                    <a:pt x="1472" y="114"/>
                  </a:lnTo>
                  <a:lnTo>
                    <a:pt x="1472" y="62"/>
                  </a:lnTo>
                  <a:cubicBezTo>
                    <a:pt x="1475" y="59"/>
                    <a:pt x="1482" y="54"/>
                    <a:pt x="1488" y="54"/>
                  </a:cubicBezTo>
                  <a:cubicBezTo>
                    <a:pt x="1493" y="54"/>
                    <a:pt x="1497" y="55"/>
                    <a:pt x="1497" y="64"/>
                  </a:cubicBezTo>
                  <a:lnTo>
                    <a:pt x="1497" y="114"/>
                  </a:lnTo>
                  <a:lnTo>
                    <a:pt x="1518" y="114"/>
                  </a:lnTo>
                  <a:close/>
                  <a:moveTo>
                    <a:pt x="1413" y="68"/>
                  </a:moveTo>
                  <a:lnTo>
                    <a:pt x="1389" y="68"/>
                  </a:lnTo>
                  <a:cubicBezTo>
                    <a:pt x="1389" y="62"/>
                    <a:pt x="1391" y="51"/>
                    <a:pt x="1400" y="51"/>
                  </a:cubicBezTo>
                  <a:cubicBezTo>
                    <a:pt x="1411" y="51"/>
                    <a:pt x="1413" y="62"/>
                    <a:pt x="1413" y="68"/>
                  </a:cubicBezTo>
                  <a:close/>
                  <a:moveTo>
                    <a:pt x="1433" y="74"/>
                  </a:moveTo>
                  <a:cubicBezTo>
                    <a:pt x="1433" y="56"/>
                    <a:pt x="1426" y="36"/>
                    <a:pt x="1400" y="36"/>
                  </a:cubicBezTo>
                  <a:cubicBezTo>
                    <a:pt x="1378" y="36"/>
                    <a:pt x="1367" y="56"/>
                    <a:pt x="1367" y="76"/>
                  </a:cubicBezTo>
                  <a:cubicBezTo>
                    <a:pt x="1367" y="90"/>
                    <a:pt x="1372" y="115"/>
                    <a:pt x="1399" y="115"/>
                  </a:cubicBezTo>
                  <a:cubicBezTo>
                    <a:pt x="1420" y="115"/>
                    <a:pt x="1432" y="108"/>
                    <a:pt x="1432" y="108"/>
                  </a:cubicBezTo>
                  <a:lnTo>
                    <a:pt x="1431" y="92"/>
                  </a:lnTo>
                  <a:cubicBezTo>
                    <a:pt x="1431" y="92"/>
                    <a:pt x="1416" y="100"/>
                    <a:pt x="1402" y="100"/>
                  </a:cubicBezTo>
                  <a:cubicBezTo>
                    <a:pt x="1393" y="100"/>
                    <a:pt x="1389" y="94"/>
                    <a:pt x="1389" y="80"/>
                  </a:cubicBezTo>
                  <a:lnTo>
                    <a:pt x="1433" y="80"/>
                  </a:lnTo>
                  <a:cubicBezTo>
                    <a:pt x="1433" y="80"/>
                    <a:pt x="1433" y="76"/>
                    <a:pt x="1433" y="74"/>
                  </a:cubicBezTo>
                  <a:moveTo>
                    <a:pt x="1332" y="75"/>
                  </a:moveTo>
                  <a:cubicBezTo>
                    <a:pt x="1332" y="93"/>
                    <a:pt x="1326" y="99"/>
                    <a:pt x="1319" y="99"/>
                  </a:cubicBezTo>
                  <a:cubicBezTo>
                    <a:pt x="1316" y="99"/>
                    <a:pt x="1310" y="97"/>
                    <a:pt x="1304" y="94"/>
                  </a:cubicBezTo>
                  <a:lnTo>
                    <a:pt x="1304" y="59"/>
                  </a:lnTo>
                  <a:cubicBezTo>
                    <a:pt x="1310" y="54"/>
                    <a:pt x="1316" y="53"/>
                    <a:pt x="1320" y="53"/>
                  </a:cubicBezTo>
                  <a:cubicBezTo>
                    <a:pt x="1330" y="53"/>
                    <a:pt x="1332" y="67"/>
                    <a:pt x="1332" y="75"/>
                  </a:cubicBezTo>
                  <a:close/>
                  <a:moveTo>
                    <a:pt x="1353" y="76"/>
                  </a:moveTo>
                  <a:cubicBezTo>
                    <a:pt x="1353" y="60"/>
                    <a:pt x="1349" y="36"/>
                    <a:pt x="1324" y="36"/>
                  </a:cubicBezTo>
                  <a:cubicBezTo>
                    <a:pt x="1315" y="36"/>
                    <a:pt x="1306" y="43"/>
                    <a:pt x="1304" y="44"/>
                  </a:cubicBezTo>
                  <a:cubicBezTo>
                    <a:pt x="1304" y="44"/>
                    <a:pt x="1304" y="39"/>
                    <a:pt x="1304" y="36"/>
                  </a:cubicBezTo>
                  <a:lnTo>
                    <a:pt x="1304" y="2"/>
                  </a:lnTo>
                  <a:lnTo>
                    <a:pt x="1284" y="4"/>
                  </a:lnTo>
                  <a:lnTo>
                    <a:pt x="1284" y="98"/>
                  </a:lnTo>
                  <a:cubicBezTo>
                    <a:pt x="1284" y="105"/>
                    <a:pt x="1283" y="114"/>
                    <a:pt x="1283" y="114"/>
                  </a:cubicBezTo>
                  <a:lnTo>
                    <a:pt x="1302" y="114"/>
                  </a:lnTo>
                  <a:cubicBezTo>
                    <a:pt x="1303" y="112"/>
                    <a:pt x="1303" y="109"/>
                    <a:pt x="1303" y="108"/>
                  </a:cubicBezTo>
                  <a:cubicBezTo>
                    <a:pt x="1304" y="109"/>
                    <a:pt x="1313" y="115"/>
                    <a:pt x="1324" y="115"/>
                  </a:cubicBezTo>
                  <a:cubicBezTo>
                    <a:pt x="1342" y="115"/>
                    <a:pt x="1353" y="98"/>
                    <a:pt x="1353" y="76"/>
                  </a:cubicBezTo>
                  <a:moveTo>
                    <a:pt x="1245" y="68"/>
                  </a:moveTo>
                  <a:lnTo>
                    <a:pt x="1221" y="68"/>
                  </a:lnTo>
                  <a:cubicBezTo>
                    <a:pt x="1221" y="62"/>
                    <a:pt x="1223" y="51"/>
                    <a:pt x="1232" y="51"/>
                  </a:cubicBezTo>
                  <a:cubicBezTo>
                    <a:pt x="1243" y="51"/>
                    <a:pt x="1245" y="62"/>
                    <a:pt x="1245" y="68"/>
                  </a:cubicBezTo>
                  <a:close/>
                  <a:moveTo>
                    <a:pt x="1265" y="74"/>
                  </a:moveTo>
                  <a:cubicBezTo>
                    <a:pt x="1265" y="56"/>
                    <a:pt x="1258" y="36"/>
                    <a:pt x="1232" y="36"/>
                  </a:cubicBezTo>
                  <a:cubicBezTo>
                    <a:pt x="1210" y="36"/>
                    <a:pt x="1199" y="56"/>
                    <a:pt x="1199" y="76"/>
                  </a:cubicBezTo>
                  <a:cubicBezTo>
                    <a:pt x="1199" y="90"/>
                    <a:pt x="1204" y="115"/>
                    <a:pt x="1231" y="115"/>
                  </a:cubicBezTo>
                  <a:cubicBezTo>
                    <a:pt x="1251" y="115"/>
                    <a:pt x="1264" y="108"/>
                    <a:pt x="1264" y="108"/>
                  </a:cubicBezTo>
                  <a:lnTo>
                    <a:pt x="1263" y="92"/>
                  </a:lnTo>
                  <a:cubicBezTo>
                    <a:pt x="1263" y="92"/>
                    <a:pt x="1248" y="100"/>
                    <a:pt x="1234" y="100"/>
                  </a:cubicBezTo>
                  <a:cubicBezTo>
                    <a:pt x="1225" y="100"/>
                    <a:pt x="1221" y="94"/>
                    <a:pt x="1221" y="80"/>
                  </a:cubicBezTo>
                  <a:lnTo>
                    <a:pt x="1265" y="80"/>
                  </a:lnTo>
                  <a:cubicBezTo>
                    <a:pt x="1265" y="80"/>
                    <a:pt x="1265" y="76"/>
                    <a:pt x="1265" y="74"/>
                  </a:cubicBezTo>
                  <a:moveTo>
                    <a:pt x="1188" y="114"/>
                  </a:moveTo>
                  <a:lnTo>
                    <a:pt x="1188" y="95"/>
                  </a:lnTo>
                  <a:lnTo>
                    <a:pt x="1145" y="95"/>
                  </a:lnTo>
                  <a:lnTo>
                    <a:pt x="1145" y="11"/>
                  </a:lnTo>
                  <a:lnTo>
                    <a:pt x="1124" y="11"/>
                  </a:lnTo>
                  <a:lnTo>
                    <a:pt x="1124" y="114"/>
                  </a:lnTo>
                  <a:lnTo>
                    <a:pt x="1188" y="114"/>
                  </a:lnTo>
                  <a:close/>
                  <a:moveTo>
                    <a:pt x="1073" y="104"/>
                  </a:moveTo>
                  <a:cubicBezTo>
                    <a:pt x="1073" y="98"/>
                    <a:pt x="1069" y="92"/>
                    <a:pt x="1061" y="92"/>
                  </a:cubicBezTo>
                  <a:cubicBezTo>
                    <a:pt x="1053" y="92"/>
                    <a:pt x="1048" y="98"/>
                    <a:pt x="1048" y="104"/>
                  </a:cubicBezTo>
                  <a:cubicBezTo>
                    <a:pt x="1048" y="110"/>
                    <a:pt x="1053" y="116"/>
                    <a:pt x="1061" y="116"/>
                  </a:cubicBezTo>
                  <a:cubicBezTo>
                    <a:pt x="1069" y="116"/>
                    <a:pt x="1073" y="110"/>
                    <a:pt x="1073" y="104"/>
                  </a:cubicBezTo>
                  <a:close/>
                  <a:moveTo>
                    <a:pt x="1053" y="38"/>
                  </a:moveTo>
                  <a:cubicBezTo>
                    <a:pt x="1053" y="38"/>
                    <a:pt x="1052" y="37"/>
                    <a:pt x="1044" y="37"/>
                  </a:cubicBezTo>
                  <a:cubicBezTo>
                    <a:pt x="1038" y="37"/>
                    <a:pt x="1032" y="42"/>
                    <a:pt x="1029" y="45"/>
                  </a:cubicBezTo>
                  <a:cubicBezTo>
                    <a:pt x="1029" y="46"/>
                    <a:pt x="1028" y="47"/>
                    <a:pt x="1028" y="47"/>
                  </a:cubicBezTo>
                  <a:cubicBezTo>
                    <a:pt x="1028" y="43"/>
                    <a:pt x="1027" y="38"/>
                    <a:pt x="1027" y="38"/>
                  </a:cubicBezTo>
                  <a:lnTo>
                    <a:pt x="1007" y="38"/>
                  </a:lnTo>
                  <a:cubicBezTo>
                    <a:pt x="1007" y="38"/>
                    <a:pt x="1008" y="47"/>
                    <a:pt x="1008" y="56"/>
                  </a:cubicBezTo>
                  <a:lnTo>
                    <a:pt x="1008" y="114"/>
                  </a:lnTo>
                  <a:lnTo>
                    <a:pt x="1029" y="114"/>
                  </a:lnTo>
                  <a:lnTo>
                    <a:pt x="1029" y="60"/>
                  </a:lnTo>
                  <a:cubicBezTo>
                    <a:pt x="1034" y="56"/>
                    <a:pt x="1039" y="53"/>
                    <a:pt x="1041" y="53"/>
                  </a:cubicBezTo>
                  <a:cubicBezTo>
                    <a:pt x="1047" y="53"/>
                    <a:pt x="1051" y="54"/>
                    <a:pt x="1051" y="54"/>
                  </a:cubicBezTo>
                  <a:lnTo>
                    <a:pt x="1053" y="38"/>
                  </a:lnTo>
                  <a:close/>
                  <a:moveTo>
                    <a:pt x="970" y="68"/>
                  </a:moveTo>
                  <a:lnTo>
                    <a:pt x="946" y="68"/>
                  </a:lnTo>
                  <a:cubicBezTo>
                    <a:pt x="946" y="62"/>
                    <a:pt x="948" y="51"/>
                    <a:pt x="958" y="51"/>
                  </a:cubicBezTo>
                  <a:cubicBezTo>
                    <a:pt x="968" y="51"/>
                    <a:pt x="970" y="62"/>
                    <a:pt x="970" y="68"/>
                  </a:cubicBezTo>
                  <a:close/>
                  <a:moveTo>
                    <a:pt x="990" y="74"/>
                  </a:moveTo>
                  <a:cubicBezTo>
                    <a:pt x="990" y="56"/>
                    <a:pt x="983" y="36"/>
                    <a:pt x="958" y="36"/>
                  </a:cubicBezTo>
                  <a:cubicBezTo>
                    <a:pt x="935" y="36"/>
                    <a:pt x="925" y="56"/>
                    <a:pt x="925" y="76"/>
                  </a:cubicBezTo>
                  <a:cubicBezTo>
                    <a:pt x="925" y="90"/>
                    <a:pt x="929" y="115"/>
                    <a:pt x="956" y="115"/>
                  </a:cubicBezTo>
                  <a:cubicBezTo>
                    <a:pt x="977" y="115"/>
                    <a:pt x="989" y="108"/>
                    <a:pt x="989" y="108"/>
                  </a:cubicBezTo>
                  <a:lnTo>
                    <a:pt x="988" y="92"/>
                  </a:lnTo>
                  <a:cubicBezTo>
                    <a:pt x="988" y="92"/>
                    <a:pt x="974" y="100"/>
                    <a:pt x="960" y="100"/>
                  </a:cubicBezTo>
                  <a:cubicBezTo>
                    <a:pt x="951" y="100"/>
                    <a:pt x="946" y="94"/>
                    <a:pt x="946" y="80"/>
                  </a:cubicBezTo>
                  <a:lnTo>
                    <a:pt x="990" y="80"/>
                  </a:lnTo>
                  <a:cubicBezTo>
                    <a:pt x="990" y="80"/>
                    <a:pt x="990" y="76"/>
                    <a:pt x="990" y="74"/>
                  </a:cubicBezTo>
                  <a:moveTo>
                    <a:pt x="911" y="91"/>
                  </a:moveTo>
                  <a:cubicBezTo>
                    <a:pt x="911" y="73"/>
                    <a:pt x="894" y="70"/>
                    <a:pt x="882" y="64"/>
                  </a:cubicBezTo>
                  <a:cubicBezTo>
                    <a:pt x="879" y="63"/>
                    <a:pt x="876" y="61"/>
                    <a:pt x="876" y="58"/>
                  </a:cubicBezTo>
                  <a:cubicBezTo>
                    <a:pt x="876" y="56"/>
                    <a:pt x="878" y="52"/>
                    <a:pt x="884" y="52"/>
                  </a:cubicBezTo>
                  <a:cubicBezTo>
                    <a:pt x="894" y="52"/>
                    <a:pt x="906" y="57"/>
                    <a:pt x="906" y="57"/>
                  </a:cubicBezTo>
                  <a:lnTo>
                    <a:pt x="907" y="40"/>
                  </a:lnTo>
                  <a:cubicBezTo>
                    <a:pt x="907" y="40"/>
                    <a:pt x="897" y="36"/>
                    <a:pt x="885" y="36"/>
                  </a:cubicBezTo>
                  <a:cubicBezTo>
                    <a:pt x="870" y="36"/>
                    <a:pt x="857" y="44"/>
                    <a:pt x="857" y="60"/>
                  </a:cubicBezTo>
                  <a:cubicBezTo>
                    <a:pt x="857" y="77"/>
                    <a:pt x="874" y="80"/>
                    <a:pt x="885" y="85"/>
                  </a:cubicBezTo>
                  <a:cubicBezTo>
                    <a:pt x="889" y="87"/>
                    <a:pt x="892" y="89"/>
                    <a:pt x="892" y="92"/>
                  </a:cubicBezTo>
                  <a:cubicBezTo>
                    <a:pt x="892" y="96"/>
                    <a:pt x="888" y="99"/>
                    <a:pt x="883" y="99"/>
                  </a:cubicBezTo>
                  <a:cubicBezTo>
                    <a:pt x="872" y="99"/>
                    <a:pt x="857" y="91"/>
                    <a:pt x="857" y="91"/>
                  </a:cubicBezTo>
                  <a:lnTo>
                    <a:pt x="856" y="110"/>
                  </a:lnTo>
                  <a:cubicBezTo>
                    <a:pt x="856" y="110"/>
                    <a:pt x="869" y="116"/>
                    <a:pt x="883" y="116"/>
                  </a:cubicBezTo>
                  <a:cubicBezTo>
                    <a:pt x="898" y="116"/>
                    <a:pt x="911" y="108"/>
                    <a:pt x="911" y="91"/>
                  </a:cubicBezTo>
                  <a:close/>
                  <a:moveTo>
                    <a:pt x="843" y="91"/>
                  </a:moveTo>
                  <a:cubicBezTo>
                    <a:pt x="843" y="73"/>
                    <a:pt x="826" y="70"/>
                    <a:pt x="813" y="64"/>
                  </a:cubicBezTo>
                  <a:cubicBezTo>
                    <a:pt x="810" y="63"/>
                    <a:pt x="807" y="61"/>
                    <a:pt x="807" y="58"/>
                  </a:cubicBezTo>
                  <a:cubicBezTo>
                    <a:pt x="807" y="56"/>
                    <a:pt x="809" y="52"/>
                    <a:pt x="815" y="52"/>
                  </a:cubicBezTo>
                  <a:cubicBezTo>
                    <a:pt x="825" y="52"/>
                    <a:pt x="837" y="57"/>
                    <a:pt x="837" y="57"/>
                  </a:cubicBezTo>
                  <a:lnTo>
                    <a:pt x="838" y="40"/>
                  </a:lnTo>
                  <a:cubicBezTo>
                    <a:pt x="838" y="40"/>
                    <a:pt x="828" y="36"/>
                    <a:pt x="816" y="36"/>
                  </a:cubicBezTo>
                  <a:cubicBezTo>
                    <a:pt x="801" y="36"/>
                    <a:pt x="788" y="44"/>
                    <a:pt x="788" y="60"/>
                  </a:cubicBezTo>
                  <a:cubicBezTo>
                    <a:pt x="788" y="77"/>
                    <a:pt x="805" y="80"/>
                    <a:pt x="817" y="85"/>
                  </a:cubicBezTo>
                  <a:cubicBezTo>
                    <a:pt x="820" y="87"/>
                    <a:pt x="823" y="89"/>
                    <a:pt x="823" y="92"/>
                  </a:cubicBezTo>
                  <a:cubicBezTo>
                    <a:pt x="823" y="96"/>
                    <a:pt x="819" y="99"/>
                    <a:pt x="815" y="99"/>
                  </a:cubicBezTo>
                  <a:cubicBezTo>
                    <a:pt x="803" y="99"/>
                    <a:pt x="788" y="91"/>
                    <a:pt x="788" y="91"/>
                  </a:cubicBezTo>
                  <a:lnTo>
                    <a:pt x="787" y="110"/>
                  </a:lnTo>
                  <a:cubicBezTo>
                    <a:pt x="787" y="110"/>
                    <a:pt x="800" y="116"/>
                    <a:pt x="814" y="116"/>
                  </a:cubicBezTo>
                  <a:cubicBezTo>
                    <a:pt x="829" y="116"/>
                    <a:pt x="843" y="108"/>
                    <a:pt x="843" y="91"/>
                  </a:cubicBezTo>
                  <a:close/>
                  <a:moveTo>
                    <a:pt x="749" y="94"/>
                  </a:moveTo>
                  <a:cubicBezTo>
                    <a:pt x="747" y="96"/>
                    <a:pt x="742" y="100"/>
                    <a:pt x="736" y="100"/>
                  </a:cubicBezTo>
                  <a:cubicBezTo>
                    <a:pt x="731" y="100"/>
                    <a:pt x="729" y="95"/>
                    <a:pt x="729" y="91"/>
                  </a:cubicBezTo>
                  <a:cubicBezTo>
                    <a:pt x="729" y="89"/>
                    <a:pt x="730" y="87"/>
                    <a:pt x="732" y="85"/>
                  </a:cubicBezTo>
                  <a:cubicBezTo>
                    <a:pt x="736" y="81"/>
                    <a:pt x="746" y="80"/>
                    <a:pt x="749" y="80"/>
                  </a:cubicBezTo>
                  <a:lnTo>
                    <a:pt x="749" y="94"/>
                  </a:lnTo>
                  <a:close/>
                  <a:moveTo>
                    <a:pt x="771" y="114"/>
                  </a:moveTo>
                  <a:cubicBezTo>
                    <a:pt x="771" y="114"/>
                    <a:pt x="770" y="107"/>
                    <a:pt x="770" y="98"/>
                  </a:cubicBezTo>
                  <a:lnTo>
                    <a:pt x="770" y="62"/>
                  </a:lnTo>
                  <a:cubicBezTo>
                    <a:pt x="770" y="54"/>
                    <a:pt x="769" y="48"/>
                    <a:pt x="765" y="43"/>
                  </a:cubicBezTo>
                  <a:cubicBezTo>
                    <a:pt x="761" y="39"/>
                    <a:pt x="755" y="36"/>
                    <a:pt x="745" y="36"/>
                  </a:cubicBezTo>
                  <a:cubicBezTo>
                    <a:pt x="729" y="36"/>
                    <a:pt x="714" y="43"/>
                    <a:pt x="714" y="43"/>
                  </a:cubicBezTo>
                  <a:lnTo>
                    <a:pt x="715" y="59"/>
                  </a:lnTo>
                  <a:cubicBezTo>
                    <a:pt x="720" y="56"/>
                    <a:pt x="731" y="52"/>
                    <a:pt x="741" y="52"/>
                  </a:cubicBezTo>
                  <a:cubicBezTo>
                    <a:pt x="747" y="52"/>
                    <a:pt x="749" y="55"/>
                    <a:pt x="749" y="61"/>
                  </a:cubicBezTo>
                  <a:lnTo>
                    <a:pt x="749" y="69"/>
                  </a:lnTo>
                  <a:cubicBezTo>
                    <a:pt x="740" y="69"/>
                    <a:pt x="725" y="70"/>
                    <a:pt x="716" y="77"/>
                  </a:cubicBezTo>
                  <a:cubicBezTo>
                    <a:pt x="711" y="81"/>
                    <a:pt x="709" y="85"/>
                    <a:pt x="709" y="92"/>
                  </a:cubicBezTo>
                  <a:cubicBezTo>
                    <a:pt x="709" y="102"/>
                    <a:pt x="714" y="115"/>
                    <a:pt x="730" y="115"/>
                  </a:cubicBezTo>
                  <a:cubicBezTo>
                    <a:pt x="741" y="115"/>
                    <a:pt x="751" y="107"/>
                    <a:pt x="751" y="107"/>
                  </a:cubicBezTo>
                  <a:cubicBezTo>
                    <a:pt x="751" y="110"/>
                    <a:pt x="751" y="114"/>
                    <a:pt x="751" y="114"/>
                  </a:cubicBezTo>
                  <a:lnTo>
                    <a:pt x="771" y="114"/>
                  </a:lnTo>
                  <a:close/>
                  <a:moveTo>
                    <a:pt x="701" y="12"/>
                  </a:moveTo>
                  <a:lnTo>
                    <a:pt x="679" y="11"/>
                  </a:lnTo>
                  <a:lnTo>
                    <a:pt x="667" y="61"/>
                  </a:lnTo>
                  <a:cubicBezTo>
                    <a:pt x="665" y="68"/>
                    <a:pt x="663" y="83"/>
                    <a:pt x="662" y="86"/>
                  </a:cubicBezTo>
                  <a:cubicBezTo>
                    <a:pt x="662" y="83"/>
                    <a:pt x="659" y="68"/>
                    <a:pt x="658" y="61"/>
                  </a:cubicBezTo>
                  <a:lnTo>
                    <a:pt x="646" y="11"/>
                  </a:lnTo>
                  <a:lnTo>
                    <a:pt x="624" y="11"/>
                  </a:lnTo>
                  <a:lnTo>
                    <a:pt x="613" y="61"/>
                  </a:lnTo>
                  <a:cubicBezTo>
                    <a:pt x="611" y="68"/>
                    <a:pt x="609" y="82"/>
                    <a:pt x="608" y="85"/>
                  </a:cubicBezTo>
                  <a:cubicBezTo>
                    <a:pt x="608" y="82"/>
                    <a:pt x="605" y="68"/>
                    <a:pt x="604" y="61"/>
                  </a:cubicBezTo>
                  <a:lnTo>
                    <a:pt x="592" y="10"/>
                  </a:lnTo>
                  <a:lnTo>
                    <a:pt x="570" y="11"/>
                  </a:lnTo>
                  <a:lnTo>
                    <a:pt x="597" y="114"/>
                  </a:lnTo>
                  <a:lnTo>
                    <a:pt x="619" y="114"/>
                  </a:lnTo>
                  <a:lnTo>
                    <a:pt x="630" y="67"/>
                  </a:lnTo>
                  <a:cubicBezTo>
                    <a:pt x="631" y="59"/>
                    <a:pt x="635" y="40"/>
                    <a:pt x="635" y="40"/>
                  </a:cubicBezTo>
                  <a:cubicBezTo>
                    <a:pt x="635" y="40"/>
                    <a:pt x="638" y="59"/>
                    <a:pt x="640" y="67"/>
                  </a:cubicBezTo>
                  <a:lnTo>
                    <a:pt x="650" y="114"/>
                  </a:lnTo>
                  <a:lnTo>
                    <a:pt x="673" y="114"/>
                  </a:lnTo>
                  <a:lnTo>
                    <a:pt x="701" y="12"/>
                  </a:lnTo>
                  <a:close/>
                  <a:moveTo>
                    <a:pt x="537" y="104"/>
                  </a:moveTo>
                  <a:cubicBezTo>
                    <a:pt x="537" y="98"/>
                    <a:pt x="533" y="92"/>
                    <a:pt x="525" y="92"/>
                  </a:cubicBezTo>
                  <a:cubicBezTo>
                    <a:pt x="516" y="92"/>
                    <a:pt x="512" y="98"/>
                    <a:pt x="512" y="104"/>
                  </a:cubicBezTo>
                  <a:cubicBezTo>
                    <a:pt x="512" y="110"/>
                    <a:pt x="516" y="116"/>
                    <a:pt x="525" y="116"/>
                  </a:cubicBezTo>
                  <a:cubicBezTo>
                    <a:pt x="533" y="116"/>
                    <a:pt x="537" y="110"/>
                    <a:pt x="537" y="104"/>
                  </a:cubicBezTo>
                  <a:close/>
                  <a:moveTo>
                    <a:pt x="476" y="68"/>
                  </a:moveTo>
                  <a:lnTo>
                    <a:pt x="452" y="68"/>
                  </a:lnTo>
                  <a:cubicBezTo>
                    <a:pt x="452" y="62"/>
                    <a:pt x="454" y="51"/>
                    <a:pt x="464" y="51"/>
                  </a:cubicBezTo>
                  <a:cubicBezTo>
                    <a:pt x="474" y="51"/>
                    <a:pt x="476" y="62"/>
                    <a:pt x="476" y="68"/>
                  </a:cubicBezTo>
                  <a:moveTo>
                    <a:pt x="496" y="74"/>
                  </a:moveTo>
                  <a:cubicBezTo>
                    <a:pt x="496" y="56"/>
                    <a:pt x="489" y="36"/>
                    <a:pt x="464" y="36"/>
                  </a:cubicBezTo>
                  <a:cubicBezTo>
                    <a:pt x="441" y="36"/>
                    <a:pt x="431" y="56"/>
                    <a:pt x="431" y="76"/>
                  </a:cubicBezTo>
                  <a:cubicBezTo>
                    <a:pt x="431" y="90"/>
                    <a:pt x="435" y="115"/>
                    <a:pt x="462" y="115"/>
                  </a:cubicBezTo>
                  <a:cubicBezTo>
                    <a:pt x="483" y="115"/>
                    <a:pt x="495" y="108"/>
                    <a:pt x="495" y="108"/>
                  </a:cubicBezTo>
                  <a:lnTo>
                    <a:pt x="494" y="92"/>
                  </a:lnTo>
                  <a:cubicBezTo>
                    <a:pt x="494" y="92"/>
                    <a:pt x="480" y="100"/>
                    <a:pt x="466" y="100"/>
                  </a:cubicBezTo>
                  <a:cubicBezTo>
                    <a:pt x="457" y="100"/>
                    <a:pt x="452" y="94"/>
                    <a:pt x="452" y="80"/>
                  </a:cubicBezTo>
                  <a:lnTo>
                    <a:pt x="496" y="80"/>
                  </a:lnTo>
                  <a:cubicBezTo>
                    <a:pt x="496" y="80"/>
                    <a:pt x="496" y="76"/>
                    <a:pt x="496" y="74"/>
                  </a:cubicBezTo>
                  <a:moveTo>
                    <a:pt x="413" y="114"/>
                  </a:moveTo>
                  <a:lnTo>
                    <a:pt x="413" y="54"/>
                  </a:lnTo>
                  <a:cubicBezTo>
                    <a:pt x="413" y="48"/>
                    <a:pt x="412" y="38"/>
                    <a:pt x="412" y="38"/>
                  </a:cubicBezTo>
                  <a:lnTo>
                    <a:pt x="393" y="38"/>
                  </a:lnTo>
                  <a:lnTo>
                    <a:pt x="393" y="114"/>
                  </a:lnTo>
                  <a:lnTo>
                    <a:pt x="413" y="114"/>
                  </a:lnTo>
                  <a:close/>
                  <a:moveTo>
                    <a:pt x="416" y="12"/>
                  </a:moveTo>
                  <a:cubicBezTo>
                    <a:pt x="416" y="6"/>
                    <a:pt x="411" y="0"/>
                    <a:pt x="403" y="0"/>
                  </a:cubicBezTo>
                  <a:cubicBezTo>
                    <a:pt x="395" y="0"/>
                    <a:pt x="391" y="6"/>
                    <a:pt x="391" y="12"/>
                  </a:cubicBezTo>
                  <a:cubicBezTo>
                    <a:pt x="391" y="18"/>
                    <a:pt x="395" y="24"/>
                    <a:pt x="403" y="24"/>
                  </a:cubicBezTo>
                  <a:cubicBezTo>
                    <a:pt x="411" y="24"/>
                    <a:pt x="416" y="18"/>
                    <a:pt x="416" y="12"/>
                  </a:cubicBezTo>
                  <a:close/>
                  <a:moveTo>
                    <a:pt x="353" y="88"/>
                  </a:moveTo>
                  <a:cubicBezTo>
                    <a:pt x="347" y="95"/>
                    <a:pt x="341" y="97"/>
                    <a:pt x="337" y="97"/>
                  </a:cubicBezTo>
                  <a:cubicBezTo>
                    <a:pt x="328" y="97"/>
                    <a:pt x="326" y="83"/>
                    <a:pt x="326" y="75"/>
                  </a:cubicBezTo>
                  <a:cubicBezTo>
                    <a:pt x="326" y="66"/>
                    <a:pt x="327" y="53"/>
                    <a:pt x="339" y="53"/>
                  </a:cubicBezTo>
                  <a:cubicBezTo>
                    <a:pt x="343" y="53"/>
                    <a:pt x="347" y="54"/>
                    <a:pt x="353" y="57"/>
                  </a:cubicBezTo>
                  <a:lnTo>
                    <a:pt x="353" y="88"/>
                  </a:lnTo>
                  <a:close/>
                  <a:moveTo>
                    <a:pt x="375" y="38"/>
                  </a:moveTo>
                  <a:lnTo>
                    <a:pt x="355" y="38"/>
                  </a:lnTo>
                  <a:cubicBezTo>
                    <a:pt x="355" y="38"/>
                    <a:pt x="354" y="40"/>
                    <a:pt x="354" y="42"/>
                  </a:cubicBezTo>
                  <a:cubicBezTo>
                    <a:pt x="352" y="41"/>
                    <a:pt x="345" y="36"/>
                    <a:pt x="336" y="36"/>
                  </a:cubicBezTo>
                  <a:cubicBezTo>
                    <a:pt x="315" y="36"/>
                    <a:pt x="305" y="53"/>
                    <a:pt x="305" y="75"/>
                  </a:cubicBezTo>
                  <a:cubicBezTo>
                    <a:pt x="305" y="90"/>
                    <a:pt x="310" y="114"/>
                    <a:pt x="332" y="114"/>
                  </a:cubicBezTo>
                  <a:cubicBezTo>
                    <a:pt x="344" y="114"/>
                    <a:pt x="352" y="105"/>
                    <a:pt x="353" y="103"/>
                  </a:cubicBezTo>
                  <a:cubicBezTo>
                    <a:pt x="353" y="103"/>
                    <a:pt x="353" y="108"/>
                    <a:pt x="353" y="110"/>
                  </a:cubicBezTo>
                  <a:lnTo>
                    <a:pt x="353" y="115"/>
                  </a:lnTo>
                  <a:cubicBezTo>
                    <a:pt x="353" y="117"/>
                    <a:pt x="353" y="119"/>
                    <a:pt x="352" y="121"/>
                  </a:cubicBezTo>
                  <a:cubicBezTo>
                    <a:pt x="351" y="125"/>
                    <a:pt x="347" y="128"/>
                    <a:pt x="338" y="128"/>
                  </a:cubicBezTo>
                  <a:cubicBezTo>
                    <a:pt x="323" y="128"/>
                    <a:pt x="310" y="122"/>
                    <a:pt x="310" y="122"/>
                  </a:cubicBezTo>
                  <a:lnTo>
                    <a:pt x="309" y="140"/>
                  </a:lnTo>
                  <a:cubicBezTo>
                    <a:pt x="309" y="140"/>
                    <a:pt x="320" y="146"/>
                    <a:pt x="338" y="146"/>
                  </a:cubicBezTo>
                  <a:cubicBezTo>
                    <a:pt x="357" y="146"/>
                    <a:pt x="369" y="139"/>
                    <a:pt x="373" y="125"/>
                  </a:cubicBezTo>
                  <a:cubicBezTo>
                    <a:pt x="373" y="122"/>
                    <a:pt x="373" y="116"/>
                    <a:pt x="373" y="112"/>
                  </a:cubicBezTo>
                  <a:lnTo>
                    <a:pt x="373" y="56"/>
                  </a:lnTo>
                  <a:cubicBezTo>
                    <a:pt x="373" y="47"/>
                    <a:pt x="375" y="38"/>
                    <a:pt x="375" y="38"/>
                  </a:cubicBezTo>
                  <a:moveTo>
                    <a:pt x="294" y="38"/>
                  </a:moveTo>
                  <a:cubicBezTo>
                    <a:pt x="294" y="38"/>
                    <a:pt x="293" y="37"/>
                    <a:pt x="285" y="37"/>
                  </a:cubicBezTo>
                  <a:cubicBezTo>
                    <a:pt x="279" y="37"/>
                    <a:pt x="273" y="42"/>
                    <a:pt x="270" y="45"/>
                  </a:cubicBezTo>
                  <a:cubicBezTo>
                    <a:pt x="270" y="46"/>
                    <a:pt x="269" y="47"/>
                    <a:pt x="269" y="47"/>
                  </a:cubicBezTo>
                  <a:cubicBezTo>
                    <a:pt x="269" y="43"/>
                    <a:pt x="268" y="38"/>
                    <a:pt x="268" y="38"/>
                  </a:cubicBezTo>
                  <a:lnTo>
                    <a:pt x="248" y="38"/>
                  </a:lnTo>
                  <a:cubicBezTo>
                    <a:pt x="248" y="38"/>
                    <a:pt x="249" y="47"/>
                    <a:pt x="249" y="56"/>
                  </a:cubicBezTo>
                  <a:lnTo>
                    <a:pt x="249" y="114"/>
                  </a:lnTo>
                  <a:lnTo>
                    <a:pt x="270" y="114"/>
                  </a:lnTo>
                  <a:lnTo>
                    <a:pt x="270" y="60"/>
                  </a:lnTo>
                  <a:cubicBezTo>
                    <a:pt x="275" y="56"/>
                    <a:pt x="279" y="53"/>
                    <a:pt x="282" y="53"/>
                  </a:cubicBezTo>
                  <a:cubicBezTo>
                    <a:pt x="288" y="53"/>
                    <a:pt x="292" y="54"/>
                    <a:pt x="292" y="54"/>
                  </a:cubicBezTo>
                  <a:lnTo>
                    <a:pt x="294" y="38"/>
                  </a:lnTo>
                  <a:close/>
                  <a:moveTo>
                    <a:pt x="211" y="68"/>
                  </a:moveTo>
                  <a:lnTo>
                    <a:pt x="187" y="68"/>
                  </a:lnTo>
                  <a:cubicBezTo>
                    <a:pt x="187" y="62"/>
                    <a:pt x="189" y="51"/>
                    <a:pt x="198" y="51"/>
                  </a:cubicBezTo>
                  <a:cubicBezTo>
                    <a:pt x="209" y="51"/>
                    <a:pt x="211" y="62"/>
                    <a:pt x="211" y="68"/>
                  </a:cubicBezTo>
                  <a:moveTo>
                    <a:pt x="231" y="74"/>
                  </a:moveTo>
                  <a:cubicBezTo>
                    <a:pt x="231" y="56"/>
                    <a:pt x="224" y="36"/>
                    <a:pt x="198" y="36"/>
                  </a:cubicBezTo>
                  <a:cubicBezTo>
                    <a:pt x="176" y="36"/>
                    <a:pt x="165" y="56"/>
                    <a:pt x="165" y="76"/>
                  </a:cubicBezTo>
                  <a:cubicBezTo>
                    <a:pt x="165" y="90"/>
                    <a:pt x="170" y="115"/>
                    <a:pt x="197" y="115"/>
                  </a:cubicBezTo>
                  <a:cubicBezTo>
                    <a:pt x="218" y="115"/>
                    <a:pt x="230" y="108"/>
                    <a:pt x="230" y="108"/>
                  </a:cubicBezTo>
                  <a:lnTo>
                    <a:pt x="229" y="92"/>
                  </a:lnTo>
                  <a:cubicBezTo>
                    <a:pt x="229" y="92"/>
                    <a:pt x="214" y="100"/>
                    <a:pt x="200" y="100"/>
                  </a:cubicBezTo>
                  <a:cubicBezTo>
                    <a:pt x="191" y="100"/>
                    <a:pt x="187" y="94"/>
                    <a:pt x="187" y="80"/>
                  </a:cubicBezTo>
                  <a:lnTo>
                    <a:pt x="231" y="80"/>
                  </a:lnTo>
                  <a:cubicBezTo>
                    <a:pt x="231" y="80"/>
                    <a:pt x="231" y="76"/>
                    <a:pt x="231" y="74"/>
                  </a:cubicBezTo>
                  <a:moveTo>
                    <a:pt x="148" y="114"/>
                  </a:moveTo>
                  <a:lnTo>
                    <a:pt x="148" y="62"/>
                  </a:lnTo>
                  <a:cubicBezTo>
                    <a:pt x="148" y="55"/>
                    <a:pt x="147" y="49"/>
                    <a:pt x="144" y="45"/>
                  </a:cubicBezTo>
                  <a:cubicBezTo>
                    <a:pt x="141" y="39"/>
                    <a:pt x="135" y="36"/>
                    <a:pt x="126" y="36"/>
                  </a:cubicBezTo>
                  <a:cubicBezTo>
                    <a:pt x="115" y="36"/>
                    <a:pt x="104" y="45"/>
                    <a:pt x="101" y="48"/>
                  </a:cubicBezTo>
                  <a:cubicBezTo>
                    <a:pt x="101" y="43"/>
                    <a:pt x="101" y="38"/>
                    <a:pt x="101" y="38"/>
                  </a:cubicBezTo>
                  <a:lnTo>
                    <a:pt x="81" y="38"/>
                  </a:lnTo>
                  <a:cubicBezTo>
                    <a:pt x="81" y="38"/>
                    <a:pt x="82" y="47"/>
                    <a:pt x="82" y="56"/>
                  </a:cubicBezTo>
                  <a:lnTo>
                    <a:pt x="82" y="114"/>
                  </a:lnTo>
                  <a:lnTo>
                    <a:pt x="102" y="114"/>
                  </a:lnTo>
                  <a:lnTo>
                    <a:pt x="102" y="62"/>
                  </a:lnTo>
                  <a:cubicBezTo>
                    <a:pt x="105" y="59"/>
                    <a:pt x="112" y="54"/>
                    <a:pt x="119" y="54"/>
                  </a:cubicBezTo>
                  <a:cubicBezTo>
                    <a:pt x="124" y="54"/>
                    <a:pt x="128" y="55"/>
                    <a:pt x="128" y="64"/>
                  </a:cubicBezTo>
                  <a:lnTo>
                    <a:pt x="128" y="114"/>
                  </a:lnTo>
                  <a:lnTo>
                    <a:pt x="148" y="114"/>
                  </a:lnTo>
                  <a:close/>
                  <a:moveTo>
                    <a:pt x="66" y="114"/>
                  </a:moveTo>
                  <a:lnTo>
                    <a:pt x="66" y="96"/>
                  </a:lnTo>
                  <a:lnTo>
                    <a:pt x="21" y="96"/>
                  </a:lnTo>
                  <a:lnTo>
                    <a:pt x="21" y="69"/>
                  </a:lnTo>
                  <a:lnTo>
                    <a:pt x="57" y="69"/>
                  </a:lnTo>
                  <a:lnTo>
                    <a:pt x="57" y="52"/>
                  </a:lnTo>
                  <a:lnTo>
                    <a:pt x="21" y="52"/>
                  </a:lnTo>
                  <a:lnTo>
                    <a:pt x="21" y="29"/>
                  </a:lnTo>
                  <a:lnTo>
                    <a:pt x="62" y="29"/>
                  </a:lnTo>
                  <a:lnTo>
                    <a:pt x="64" y="11"/>
                  </a:lnTo>
                  <a:lnTo>
                    <a:pt x="0" y="11"/>
                  </a:lnTo>
                  <a:lnTo>
                    <a:pt x="0" y="114"/>
                  </a:lnTo>
                  <a:lnTo>
                    <a:pt x="66" y="114"/>
                  </a:lnTo>
                  <a:close/>
                </a:path>
              </a:pathLst>
            </a:custGeom>
            <a:solidFill>
              <a:srgbClr val="57687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39">
              <a:extLst>
                <a:ext uri="{FF2B5EF4-FFF2-40B4-BE49-F238E27FC236}">
                  <a16:creationId xmlns:a16="http://schemas.microsoft.com/office/drawing/2014/main" id="{1917ABC3-E203-4FF8-938E-FF22E3507FEE}"/>
                </a:ext>
              </a:extLst>
            </p:cNvPr>
            <p:cNvSpPr>
              <a:spLocks/>
            </p:cNvSpPr>
            <p:nvPr/>
          </p:nvSpPr>
          <p:spPr bwMode="gray">
            <a:xfrm>
              <a:off x="8429374" y="990263"/>
              <a:ext cx="354012" cy="273050"/>
            </a:xfrm>
            <a:custGeom>
              <a:avLst/>
              <a:gdLst>
                <a:gd name="T0" fmla="*/ 0 w 443"/>
                <a:gd name="T1" fmla="*/ 0 h 341"/>
                <a:gd name="T2" fmla="*/ 0 w 443"/>
                <a:gd name="T3" fmla="*/ 217 h 341"/>
                <a:gd name="T4" fmla="*/ 131 w 443"/>
                <a:gd name="T5" fmla="*/ 341 h 341"/>
                <a:gd name="T6" fmla="*/ 222 w 443"/>
                <a:gd name="T7" fmla="*/ 300 h 341"/>
                <a:gd name="T8" fmla="*/ 313 w 443"/>
                <a:gd name="T9" fmla="*/ 341 h 341"/>
                <a:gd name="T10" fmla="*/ 443 w 443"/>
                <a:gd name="T11" fmla="*/ 217 h 341"/>
                <a:gd name="T12" fmla="*/ 443 w 443"/>
                <a:gd name="T13" fmla="*/ 0 h 341"/>
                <a:gd name="T14" fmla="*/ 365 w 443"/>
                <a:gd name="T15" fmla="*/ 0 h 341"/>
                <a:gd name="T16" fmla="*/ 365 w 443"/>
                <a:gd name="T17" fmla="*/ 219 h 341"/>
                <a:gd name="T18" fmla="*/ 313 w 443"/>
                <a:gd name="T19" fmla="*/ 268 h 341"/>
                <a:gd name="T20" fmla="*/ 261 w 443"/>
                <a:gd name="T21" fmla="*/ 219 h 341"/>
                <a:gd name="T22" fmla="*/ 261 w 443"/>
                <a:gd name="T23" fmla="*/ 0 h 341"/>
                <a:gd name="T24" fmla="*/ 183 w 443"/>
                <a:gd name="T25" fmla="*/ 0 h 341"/>
                <a:gd name="T26" fmla="*/ 183 w 443"/>
                <a:gd name="T27" fmla="*/ 219 h 341"/>
                <a:gd name="T28" fmla="*/ 131 w 443"/>
                <a:gd name="T29" fmla="*/ 268 h 341"/>
                <a:gd name="T30" fmla="*/ 79 w 443"/>
                <a:gd name="T31" fmla="*/ 219 h 341"/>
                <a:gd name="T32" fmla="*/ 79 w 443"/>
                <a:gd name="T33" fmla="*/ 0 h 341"/>
                <a:gd name="T34" fmla="*/ 0 w 443"/>
                <a:gd name="T35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43" h="341">
                  <a:moveTo>
                    <a:pt x="0" y="0"/>
                  </a:moveTo>
                  <a:lnTo>
                    <a:pt x="0" y="217"/>
                  </a:lnTo>
                  <a:cubicBezTo>
                    <a:pt x="0" y="285"/>
                    <a:pt x="59" y="341"/>
                    <a:pt x="131" y="341"/>
                  </a:cubicBezTo>
                  <a:cubicBezTo>
                    <a:pt x="165" y="341"/>
                    <a:pt x="205" y="322"/>
                    <a:pt x="222" y="300"/>
                  </a:cubicBezTo>
                  <a:cubicBezTo>
                    <a:pt x="239" y="322"/>
                    <a:pt x="279" y="341"/>
                    <a:pt x="313" y="341"/>
                  </a:cubicBezTo>
                  <a:cubicBezTo>
                    <a:pt x="385" y="341"/>
                    <a:pt x="443" y="285"/>
                    <a:pt x="443" y="217"/>
                  </a:cubicBezTo>
                  <a:lnTo>
                    <a:pt x="443" y="0"/>
                  </a:lnTo>
                  <a:lnTo>
                    <a:pt x="365" y="0"/>
                  </a:lnTo>
                  <a:lnTo>
                    <a:pt x="365" y="219"/>
                  </a:lnTo>
                  <a:cubicBezTo>
                    <a:pt x="365" y="246"/>
                    <a:pt x="342" y="268"/>
                    <a:pt x="313" y="268"/>
                  </a:cubicBezTo>
                  <a:cubicBezTo>
                    <a:pt x="285" y="268"/>
                    <a:pt x="261" y="246"/>
                    <a:pt x="261" y="219"/>
                  </a:cubicBezTo>
                  <a:lnTo>
                    <a:pt x="261" y="0"/>
                  </a:lnTo>
                  <a:lnTo>
                    <a:pt x="183" y="0"/>
                  </a:lnTo>
                  <a:lnTo>
                    <a:pt x="183" y="219"/>
                  </a:lnTo>
                  <a:cubicBezTo>
                    <a:pt x="183" y="246"/>
                    <a:pt x="159" y="268"/>
                    <a:pt x="131" y="268"/>
                  </a:cubicBezTo>
                  <a:cubicBezTo>
                    <a:pt x="102" y="268"/>
                    <a:pt x="79" y="246"/>
                    <a:pt x="79" y="219"/>
                  </a:cubicBezTo>
                  <a:lnTo>
                    <a:pt x="7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2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40">
              <a:extLst>
                <a:ext uri="{FF2B5EF4-FFF2-40B4-BE49-F238E27FC236}">
                  <a16:creationId xmlns:a16="http://schemas.microsoft.com/office/drawing/2014/main" id="{7209EDC0-9D50-440C-AEC3-5B2F624901AA}"/>
                </a:ext>
              </a:extLst>
            </p:cNvPr>
            <p:cNvSpPr>
              <a:spLocks/>
            </p:cNvSpPr>
            <p:nvPr/>
          </p:nvSpPr>
          <p:spPr bwMode="gray">
            <a:xfrm>
              <a:off x="8130924" y="982325"/>
              <a:ext cx="276225" cy="277813"/>
            </a:xfrm>
            <a:custGeom>
              <a:avLst/>
              <a:gdLst>
                <a:gd name="T0" fmla="*/ 345 w 347"/>
                <a:gd name="T1" fmla="*/ 199 h 348"/>
                <a:gd name="T2" fmla="*/ 347 w 347"/>
                <a:gd name="T3" fmla="*/ 174 h 348"/>
                <a:gd name="T4" fmla="*/ 174 w 347"/>
                <a:gd name="T5" fmla="*/ 0 h 348"/>
                <a:gd name="T6" fmla="*/ 0 w 347"/>
                <a:gd name="T7" fmla="*/ 174 h 348"/>
                <a:gd name="T8" fmla="*/ 174 w 347"/>
                <a:gd name="T9" fmla="*/ 348 h 348"/>
                <a:gd name="T10" fmla="*/ 336 w 347"/>
                <a:gd name="T11" fmla="*/ 237 h 348"/>
                <a:gd name="T12" fmla="*/ 254 w 347"/>
                <a:gd name="T13" fmla="*/ 237 h 348"/>
                <a:gd name="T14" fmla="*/ 174 w 347"/>
                <a:gd name="T15" fmla="*/ 276 h 348"/>
                <a:gd name="T16" fmla="*/ 71 w 347"/>
                <a:gd name="T17" fmla="*/ 174 h 348"/>
                <a:gd name="T18" fmla="*/ 174 w 347"/>
                <a:gd name="T19" fmla="*/ 71 h 348"/>
                <a:gd name="T20" fmla="*/ 265 w 347"/>
                <a:gd name="T21" fmla="*/ 128 h 348"/>
                <a:gd name="T22" fmla="*/ 141 w 347"/>
                <a:gd name="T23" fmla="*/ 128 h 348"/>
                <a:gd name="T24" fmla="*/ 141 w 347"/>
                <a:gd name="T25" fmla="*/ 199 h 348"/>
                <a:gd name="T26" fmla="*/ 345 w 347"/>
                <a:gd name="T27" fmla="*/ 199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7" h="348">
                  <a:moveTo>
                    <a:pt x="345" y="199"/>
                  </a:moveTo>
                  <a:cubicBezTo>
                    <a:pt x="347" y="191"/>
                    <a:pt x="347" y="183"/>
                    <a:pt x="347" y="174"/>
                  </a:cubicBezTo>
                  <a:cubicBezTo>
                    <a:pt x="347" y="78"/>
                    <a:pt x="270" y="0"/>
                    <a:pt x="174" y="0"/>
                  </a:cubicBezTo>
                  <a:cubicBezTo>
                    <a:pt x="78" y="0"/>
                    <a:pt x="0" y="78"/>
                    <a:pt x="0" y="174"/>
                  </a:cubicBezTo>
                  <a:cubicBezTo>
                    <a:pt x="0" y="270"/>
                    <a:pt x="78" y="348"/>
                    <a:pt x="174" y="348"/>
                  </a:cubicBezTo>
                  <a:cubicBezTo>
                    <a:pt x="248" y="348"/>
                    <a:pt x="310" y="301"/>
                    <a:pt x="336" y="237"/>
                  </a:cubicBezTo>
                  <a:lnTo>
                    <a:pt x="254" y="237"/>
                  </a:lnTo>
                  <a:cubicBezTo>
                    <a:pt x="235" y="260"/>
                    <a:pt x="206" y="276"/>
                    <a:pt x="174" y="276"/>
                  </a:cubicBezTo>
                  <a:cubicBezTo>
                    <a:pt x="117" y="276"/>
                    <a:pt x="71" y="230"/>
                    <a:pt x="71" y="174"/>
                  </a:cubicBezTo>
                  <a:cubicBezTo>
                    <a:pt x="71" y="117"/>
                    <a:pt x="117" y="71"/>
                    <a:pt x="174" y="71"/>
                  </a:cubicBezTo>
                  <a:cubicBezTo>
                    <a:pt x="214" y="71"/>
                    <a:pt x="248" y="95"/>
                    <a:pt x="265" y="128"/>
                  </a:cubicBezTo>
                  <a:lnTo>
                    <a:pt x="141" y="128"/>
                  </a:lnTo>
                  <a:lnTo>
                    <a:pt x="141" y="199"/>
                  </a:lnTo>
                  <a:lnTo>
                    <a:pt x="345" y="199"/>
                  </a:lnTo>
                  <a:close/>
                </a:path>
              </a:pathLst>
            </a:custGeom>
            <a:solidFill>
              <a:srgbClr val="C2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41">
              <a:extLst>
                <a:ext uri="{FF2B5EF4-FFF2-40B4-BE49-F238E27FC236}">
                  <a16:creationId xmlns:a16="http://schemas.microsoft.com/office/drawing/2014/main" id="{30CE98D7-AD83-4F4E-820A-1EBA45A9A15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34061" y="868025"/>
              <a:ext cx="276225" cy="395288"/>
            </a:xfrm>
            <a:custGeom>
              <a:avLst/>
              <a:gdLst>
                <a:gd name="T0" fmla="*/ 273 w 347"/>
                <a:gd name="T1" fmla="*/ 0 h 496"/>
                <a:gd name="T2" fmla="*/ 273 w 347"/>
                <a:gd name="T3" fmla="*/ 184 h 496"/>
                <a:gd name="T4" fmla="*/ 173 w 347"/>
                <a:gd name="T5" fmla="*/ 150 h 496"/>
                <a:gd name="T6" fmla="*/ 0 w 347"/>
                <a:gd name="T7" fmla="*/ 323 h 496"/>
                <a:gd name="T8" fmla="*/ 173 w 347"/>
                <a:gd name="T9" fmla="*/ 496 h 496"/>
                <a:gd name="T10" fmla="*/ 273 w 347"/>
                <a:gd name="T11" fmla="*/ 463 h 496"/>
                <a:gd name="T12" fmla="*/ 273 w 347"/>
                <a:gd name="T13" fmla="*/ 492 h 496"/>
                <a:gd name="T14" fmla="*/ 347 w 347"/>
                <a:gd name="T15" fmla="*/ 492 h 496"/>
                <a:gd name="T16" fmla="*/ 347 w 347"/>
                <a:gd name="T17" fmla="*/ 0 h 496"/>
                <a:gd name="T18" fmla="*/ 273 w 347"/>
                <a:gd name="T19" fmla="*/ 0 h 496"/>
                <a:gd name="T20" fmla="*/ 196 w 347"/>
                <a:gd name="T21" fmla="*/ 421 h 496"/>
                <a:gd name="T22" fmla="*/ 173 w 347"/>
                <a:gd name="T23" fmla="*/ 425 h 496"/>
                <a:gd name="T24" fmla="*/ 134 w 347"/>
                <a:gd name="T25" fmla="*/ 416 h 496"/>
                <a:gd name="T26" fmla="*/ 71 w 347"/>
                <a:gd name="T27" fmla="*/ 321 h 496"/>
                <a:gd name="T28" fmla="*/ 173 w 347"/>
                <a:gd name="T29" fmla="*/ 219 h 496"/>
                <a:gd name="T30" fmla="*/ 276 w 347"/>
                <a:gd name="T31" fmla="*/ 321 h 496"/>
                <a:gd name="T32" fmla="*/ 196 w 347"/>
                <a:gd name="T33" fmla="*/ 421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7" h="496">
                  <a:moveTo>
                    <a:pt x="273" y="0"/>
                  </a:moveTo>
                  <a:lnTo>
                    <a:pt x="273" y="184"/>
                  </a:lnTo>
                  <a:cubicBezTo>
                    <a:pt x="245" y="163"/>
                    <a:pt x="211" y="150"/>
                    <a:pt x="173" y="150"/>
                  </a:cubicBezTo>
                  <a:cubicBezTo>
                    <a:pt x="77" y="150"/>
                    <a:pt x="0" y="227"/>
                    <a:pt x="0" y="323"/>
                  </a:cubicBezTo>
                  <a:cubicBezTo>
                    <a:pt x="0" y="418"/>
                    <a:pt x="77" y="496"/>
                    <a:pt x="173" y="496"/>
                  </a:cubicBezTo>
                  <a:cubicBezTo>
                    <a:pt x="211" y="496"/>
                    <a:pt x="245" y="484"/>
                    <a:pt x="273" y="463"/>
                  </a:cubicBezTo>
                  <a:lnTo>
                    <a:pt x="273" y="492"/>
                  </a:lnTo>
                  <a:lnTo>
                    <a:pt x="347" y="492"/>
                  </a:lnTo>
                  <a:lnTo>
                    <a:pt x="347" y="0"/>
                  </a:lnTo>
                  <a:lnTo>
                    <a:pt x="273" y="0"/>
                  </a:lnTo>
                  <a:close/>
                  <a:moveTo>
                    <a:pt x="196" y="421"/>
                  </a:moveTo>
                  <a:cubicBezTo>
                    <a:pt x="189" y="423"/>
                    <a:pt x="181" y="425"/>
                    <a:pt x="173" y="425"/>
                  </a:cubicBezTo>
                  <a:cubicBezTo>
                    <a:pt x="159" y="425"/>
                    <a:pt x="146" y="421"/>
                    <a:pt x="134" y="416"/>
                  </a:cubicBezTo>
                  <a:cubicBezTo>
                    <a:pt x="97" y="401"/>
                    <a:pt x="71" y="364"/>
                    <a:pt x="71" y="321"/>
                  </a:cubicBezTo>
                  <a:cubicBezTo>
                    <a:pt x="71" y="265"/>
                    <a:pt x="117" y="219"/>
                    <a:pt x="173" y="219"/>
                  </a:cubicBezTo>
                  <a:cubicBezTo>
                    <a:pt x="230" y="219"/>
                    <a:pt x="276" y="265"/>
                    <a:pt x="276" y="321"/>
                  </a:cubicBezTo>
                  <a:cubicBezTo>
                    <a:pt x="276" y="370"/>
                    <a:pt x="242" y="411"/>
                    <a:pt x="196" y="421"/>
                  </a:cubicBezTo>
                  <a:close/>
                </a:path>
              </a:pathLst>
            </a:custGeom>
            <a:solidFill>
              <a:srgbClr val="C2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42">
              <a:extLst>
                <a:ext uri="{FF2B5EF4-FFF2-40B4-BE49-F238E27FC236}">
                  <a16:creationId xmlns:a16="http://schemas.microsoft.com/office/drawing/2014/main" id="{24E04344-CF36-402A-868D-4E6C0F1371C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38786" y="868025"/>
              <a:ext cx="277812" cy="395288"/>
            </a:xfrm>
            <a:custGeom>
              <a:avLst/>
              <a:gdLst>
                <a:gd name="T0" fmla="*/ 175 w 348"/>
                <a:gd name="T1" fmla="*/ 150 h 496"/>
                <a:gd name="T2" fmla="*/ 75 w 348"/>
                <a:gd name="T3" fmla="*/ 184 h 496"/>
                <a:gd name="T4" fmla="*/ 75 w 348"/>
                <a:gd name="T5" fmla="*/ 0 h 496"/>
                <a:gd name="T6" fmla="*/ 0 w 348"/>
                <a:gd name="T7" fmla="*/ 0 h 496"/>
                <a:gd name="T8" fmla="*/ 0 w 348"/>
                <a:gd name="T9" fmla="*/ 492 h 496"/>
                <a:gd name="T10" fmla="*/ 75 w 348"/>
                <a:gd name="T11" fmla="*/ 492 h 496"/>
                <a:gd name="T12" fmla="*/ 75 w 348"/>
                <a:gd name="T13" fmla="*/ 463 h 496"/>
                <a:gd name="T14" fmla="*/ 175 w 348"/>
                <a:gd name="T15" fmla="*/ 496 h 496"/>
                <a:gd name="T16" fmla="*/ 348 w 348"/>
                <a:gd name="T17" fmla="*/ 323 h 496"/>
                <a:gd name="T18" fmla="*/ 175 w 348"/>
                <a:gd name="T19" fmla="*/ 150 h 496"/>
                <a:gd name="T20" fmla="*/ 214 w 348"/>
                <a:gd name="T21" fmla="*/ 416 h 496"/>
                <a:gd name="T22" fmla="*/ 175 w 348"/>
                <a:gd name="T23" fmla="*/ 425 h 496"/>
                <a:gd name="T24" fmla="*/ 152 w 348"/>
                <a:gd name="T25" fmla="*/ 421 h 496"/>
                <a:gd name="T26" fmla="*/ 72 w 348"/>
                <a:gd name="T27" fmla="*/ 321 h 496"/>
                <a:gd name="T28" fmla="*/ 175 w 348"/>
                <a:gd name="T29" fmla="*/ 219 h 496"/>
                <a:gd name="T30" fmla="*/ 277 w 348"/>
                <a:gd name="T31" fmla="*/ 321 h 496"/>
                <a:gd name="T32" fmla="*/ 214 w 348"/>
                <a:gd name="T33" fmla="*/ 41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8" h="496">
                  <a:moveTo>
                    <a:pt x="175" y="150"/>
                  </a:moveTo>
                  <a:cubicBezTo>
                    <a:pt x="137" y="150"/>
                    <a:pt x="103" y="163"/>
                    <a:pt x="75" y="184"/>
                  </a:cubicBezTo>
                  <a:lnTo>
                    <a:pt x="75" y="0"/>
                  </a:lnTo>
                  <a:lnTo>
                    <a:pt x="0" y="0"/>
                  </a:lnTo>
                  <a:lnTo>
                    <a:pt x="0" y="492"/>
                  </a:lnTo>
                  <a:lnTo>
                    <a:pt x="75" y="492"/>
                  </a:lnTo>
                  <a:lnTo>
                    <a:pt x="75" y="463"/>
                  </a:lnTo>
                  <a:cubicBezTo>
                    <a:pt x="103" y="484"/>
                    <a:pt x="137" y="496"/>
                    <a:pt x="175" y="496"/>
                  </a:cubicBezTo>
                  <a:cubicBezTo>
                    <a:pt x="271" y="496"/>
                    <a:pt x="348" y="418"/>
                    <a:pt x="348" y="323"/>
                  </a:cubicBezTo>
                  <a:cubicBezTo>
                    <a:pt x="348" y="227"/>
                    <a:pt x="271" y="150"/>
                    <a:pt x="175" y="150"/>
                  </a:cubicBezTo>
                  <a:close/>
                  <a:moveTo>
                    <a:pt x="214" y="416"/>
                  </a:moveTo>
                  <a:cubicBezTo>
                    <a:pt x="202" y="421"/>
                    <a:pt x="189" y="425"/>
                    <a:pt x="175" y="425"/>
                  </a:cubicBezTo>
                  <a:cubicBezTo>
                    <a:pt x="167" y="425"/>
                    <a:pt x="159" y="423"/>
                    <a:pt x="152" y="421"/>
                  </a:cubicBezTo>
                  <a:cubicBezTo>
                    <a:pt x="106" y="411"/>
                    <a:pt x="72" y="370"/>
                    <a:pt x="72" y="321"/>
                  </a:cubicBezTo>
                  <a:cubicBezTo>
                    <a:pt x="72" y="265"/>
                    <a:pt x="118" y="219"/>
                    <a:pt x="175" y="219"/>
                  </a:cubicBezTo>
                  <a:cubicBezTo>
                    <a:pt x="231" y="219"/>
                    <a:pt x="277" y="265"/>
                    <a:pt x="277" y="321"/>
                  </a:cubicBezTo>
                  <a:cubicBezTo>
                    <a:pt x="277" y="364"/>
                    <a:pt x="251" y="401"/>
                    <a:pt x="214" y="416"/>
                  </a:cubicBezTo>
                  <a:close/>
                </a:path>
              </a:pathLst>
            </a:custGeom>
            <a:solidFill>
              <a:srgbClr val="C2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2C04757-2776-4EA4-A013-F676F05A99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12000" y="4680000"/>
            <a:ext cx="7200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6EC276C-C76C-4666-B7AC-7DADAAB07FB7}" type="datetime1">
              <a:rPr lang="de-DE" smtClean="0"/>
              <a:t>24.11.2022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B6B47DA-0DBD-4AEC-99C6-85B000973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-1314352" y="3906755"/>
            <a:ext cx="2483712" cy="143007"/>
          </a:xfrm>
        </p:spPr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8E9DA2F-74D8-4C70-83F2-41F666CFE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16200000">
            <a:off x="-190669" y="2383649"/>
            <a:ext cx="216000" cy="144000"/>
          </a:xfrm>
        </p:spPr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187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903">
          <p15:clr>
            <a:srgbClr val="FBAE40"/>
          </p15:clr>
        </p15:guide>
        <p15:guide id="3" pos="4354">
          <p15:clr>
            <a:srgbClr val="FBAE40"/>
          </p15:clr>
        </p15:guide>
        <p15:guide id="4" orient="horz" pos="285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F30B11-90C1-48B5-A47B-C6C1867ACF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DBBAA8B-5A9A-4984-A4EC-9CDEF82C883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431800" y="1800225"/>
            <a:ext cx="8351838" cy="14398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E7B639A-AFF6-4EDB-99AE-23678F46DB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1800" y="3529013"/>
            <a:ext cx="8351838" cy="14398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4900303E-28C7-4FC4-AF8B-D64370D186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B1B416-4F25-4A28-815A-D90C41D22ED8}" type="datetime1">
              <a:rPr lang="de-DE" smtClean="0"/>
              <a:t>24.11.2022</a:t>
            </a:fld>
            <a:endParaRPr lang="en-US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7EEE5B8C-0EC7-4871-80F8-5DCAB8D14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0E16A24A-9139-4FF6-986E-80EA854617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7311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E7DB84-1C76-4167-A28D-AD10C28D40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DB10FA-C3B7-4C1C-B1C4-F19374D001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1800" y="1800225"/>
            <a:ext cx="8351838" cy="14398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EDE0DD5-8E4C-4F57-8A9C-9B3B37C6FF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31800" y="3529013"/>
            <a:ext cx="8351838" cy="14398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98EEC750-0B2F-488E-9088-8FF75E3F94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C1B752-F01F-4E6E-9530-9DF8F199123D}" type="datetime1">
              <a:rPr lang="de-DE" smtClean="0"/>
              <a:t>24.11.2022</a:t>
            </a:fld>
            <a:endParaRPr lang="en-US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3F30E6A8-BBE1-47A0-80EF-02DC869E29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3F6B8303-2540-4DAE-BF26-C7B544AAD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6159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 und 2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170E73-7B77-4078-A382-0C38BC2CD9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914319D-3A73-4DDF-ADE3-85B9FB53761B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431453" y="1800596"/>
            <a:ext cx="4032250" cy="14398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7736D84-618E-496A-AC3D-E2A92EFA1FC1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4751735" y="1800596"/>
            <a:ext cx="4032250" cy="14398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8BD211A-3457-4834-84A1-AE172669D601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432345" y="3528789"/>
            <a:ext cx="8351838" cy="14398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801DFD5D-D5EC-4A24-BE5F-48A5500AFC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32C2C0-7768-465E-BDA8-7780BD5141A6}" type="datetime1">
              <a:rPr lang="de-DE" smtClean="0"/>
              <a:t>24.11.2022</a:t>
            </a:fld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2C41F924-1E8F-4D53-86CA-BC874913A5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BFFEC7D3-E135-4302-A206-2D371365E0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2848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3D6122-9C49-4329-B4B5-6F4F6028E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C63E382-756A-44AF-86F7-F7E4606D44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1453" y="1800001"/>
            <a:ext cx="4032250" cy="31686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99C7164-EA5E-4BD4-8F63-A774048A1426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4751735" y="1800596"/>
            <a:ext cx="4032250" cy="14398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B3F3531-153E-412B-A2C2-22CBB0989746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4751735" y="3527822"/>
            <a:ext cx="4032250" cy="144082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7991A111-EF73-4046-A40F-93F22DC6CF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6EC7C-CE20-4F89-AABD-892B1DF4F1CD}" type="datetime1">
              <a:rPr lang="de-DE" smtClean="0"/>
              <a:t>24.11.2022</a:t>
            </a:fld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7CD87D2F-C9B2-46E6-B99C-2FB5729EB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5C5254AC-3CE8-4B54-9ECD-D09902342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4718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el, zwei Inhalte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D6D3C2-FE42-433A-9008-EF24A5F6A9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D13FA7A-E881-42F5-92F1-92C549E3697D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431255" y="1800299"/>
            <a:ext cx="4032250" cy="14398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471D891-307D-499C-811E-856AA16698A8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431453" y="3527822"/>
            <a:ext cx="4032250" cy="144082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9625E5A9-BCAC-4FCB-93D6-30B8E48B481D}"/>
              </a:ext>
            </a:extLst>
          </p:cNvPr>
          <p:cNvSpPr>
            <a:spLocks noGrp="1"/>
          </p:cNvSpPr>
          <p:nvPr>
            <p:ph sz="half" idx="3"/>
          </p:nvPr>
        </p:nvSpPr>
        <p:spPr>
          <a:xfrm>
            <a:off x="4751735" y="1800001"/>
            <a:ext cx="4032250" cy="31686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2BF21BBF-C9FB-4867-B3D2-9D0B54407E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ECC93-01C2-437A-83A2-4C7B1DC23C11}" type="datetime1">
              <a:rPr lang="de-DE" smtClean="0"/>
              <a:t>24.11.2022</a:t>
            </a:fld>
            <a:endParaRPr lang="en-US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DF6D0EBA-AD7F-49CD-B148-48B841A3D1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EA375505-4158-43A4-9442-7ED07FE18B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0934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5485CA-1478-439A-A4E7-B336017DFAB7}"/>
              </a:ext>
            </a:extLst>
          </p:cNvPr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151A88-096E-42BD-AA5A-19671CAD7082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431453" y="1800596"/>
            <a:ext cx="4032250" cy="14398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CECC308-A649-4266-B1C6-4C9B6FA73A69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4751933" y="1800596"/>
            <a:ext cx="4032250" cy="14398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85A12CD-4454-4B4E-B18F-179F5C244864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431255" y="3528789"/>
            <a:ext cx="4032250" cy="14398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63D2CAA-22E9-4F5F-8A11-4A490885378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751735" y="3528789"/>
            <a:ext cx="4032250" cy="14398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12FE41DB-56D6-4293-B48C-458161373D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215D67-1290-45E9-8630-94C1D694D356}" type="datetime1">
              <a:rPr lang="de-DE" smtClean="0"/>
              <a:t>24.11.2022</a:t>
            </a:fld>
            <a:endParaRPr lang="en-US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2F570F22-1430-4D12-9F56-7879F90962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33923EF9-E923-4428-928A-FA602A25E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7136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ld (ganzseitig) +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E7B8209-2A83-4F31-8D75-7F62DE28F3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9215438" cy="5184775"/>
          </a:xfrm>
          <a:solidFill>
            <a:srgbClr val="0068AF"/>
          </a:solidFill>
        </p:spPr>
        <p:txBody>
          <a:bodyPr lIns="6408000" tIns="720000" rIns="576000" bIns="2088000"/>
          <a:lstStyle>
            <a:lvl1pPr marL="0" indent="0">
              <a:buNone/>
              <a:defRPr sz="2600" b="1">
                <a:solidFill>
                  <a:schemeClr val="bg1"/>
                </a:solidFill>
              </a:defRPr>
            </a:lvl1pPr>
            <a:lvl2pPr marL="360000" indent="0">
              <a:buNone/>
              <a:defRPr sz="26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D524620A-E9D6-4F69-BD6E-074EC76BE5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215438" cy="5184775"/>
          </a:xfrm>
          <a:custGeom>
            <a:avLst/>
            <a:gdLst>
              <a:gd name="connsiteX0" fmla="*/ 6192183 w 9215438"/>
              <a:gd name="connsiteY0" fmla="*/ 576163 h 5184775"/>
              <a:gd name="connsiteX1" fmla="*/ 6192183 w 9215438"/>
              <a:gd name="connsiteY1" fmla="*/ 3024163 h 5184775"/>
              <a:gd name="connsiteX2" fmla="*/ 8784183 w 9215438"/>
              <a:gd name="connsiteY2" fmla="*/ 3024163 h 5184775"/>
              <a:gd name="connsiteX3" fmla="*/ 8784183 w 9215438"/>
              <a:gd name="connsiteY3" fmla="*/ 576163 h 5184775"/>
              <a:gd name="connsiteX4" fmla="*/ 0 w 9215438"/>
              <a:gd name="connsiteY4" fmla="*/ 0 h 5184775"/>
              <a:gd name="connsiteX5" fmla="*/ 9215438 w 9215438"/>
              <a:gd name="connsiteY5" fmla="*/ 0 h 5184775"/>
              <a:gd name="connsiteX6" fmla="*/ 9215438 w 9215438"/>
              <a:gd name="connsiteY6" fmla="*/ 5184775 h 5184775"/>
              <a:gd name="connsiteX7" fmla="*/ 0 w 9215438"/>
              <a:gd name="connsiteY7" fmla="*/ 5184775 h 5184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15438" h="5184775">
                <a:moveTo>
                  <a:pt x="6192183" y="576163"/>
                </a:moveTo>
                <a:lnTo>
                  <a:pt x="6192183" y="3024163"/>
                </a:lnTo>
                <a:lnTo>
                  <a:pt x="8784183" y="3024163"/>
                </a:lnTo>
                <a:lnTo>
                  <a:pt x="8784183" y="576163"/>
                </a:lnTo>
                <a:close/>
                <a:moveTo>
                  <a:pt x="0" y="0"/>
                </a:moveTo>
                <a:lnTo>
                  <a:pt x="9215438" y="0"/>
                </a:lnTo>
                <a:lnTo>
                  <a:pt x="9215438" y="5184775"/>
                </a:lnTo>
                <a:lnTo>
                  <a:pt x="0" y="518477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432000" tIns="576000">
            <a:noAutofit/>
          </a:bodyPr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D84E6C9-2B27-49BB-99EE-018CF284E6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800" y="4824651"/>
            <a:ext cx="4032250" cy="144000"/>
          </a:xfrm>
        </p:spPr>
        <p:txBody>
          <a:bodyPr wrap="none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b="0" i="0"/>
            </a:lvl1pPr>
          </a:lstStyle>
          <a:p>
            <a:pPr lvl="0"/>
            <a:r>
              <a:rPr lang="de-DE" dirty="0"/>
              <a:t>Quelle hinzufügen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B9FA5F2F-29BA-42B5-B323-CC6F9941277E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 rot="16200000">
            <a:off x="-359093" y="4661350"/>
            <a:ext cx="504000" cy="144000"/>
          </a:xfrm>
        </p:spPr>
        <p:txBody>
          <a:bodyPr/>
          <a:lstStyle/>
          <a:p>
            <a:fld id="{49DE7E8D-F7B9-4511-9CFE-59F258E137D3}" type="datetime1">
              <a:rPr lang="de-DE" smtClean="0"/>
              <a:t>24.11.2022</a:t>
            </a:fld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ABF5829D-B1D3-4290-A36F-E11F4AABC14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 rot="16200000">
            <a:off x="-2249093" y="2066675"/>
            <a:ext cx="4284000" cy="144000"/>
          </a:xfrm>
        </p:spPr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C699A843-664C-4B65-A0E7-48FEDD0D137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 rot="16200000">
            <a:off x="-215093" y="4316675"/>
            <a:ext cx="216000" cy="144000"/>
          </a:xfrm>
        </p:spPr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7278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spaltig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2797550-BDEB-4493-A73E-BE77A12FC5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865AA-F124-4E06-BC23-6D94A222FE06}" type="datetime1">
              <a:rPr lang="de-DE" smtClean="0"/>
              <a:t>24.11.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4CF833-9070-40EB-9C9E-0AFFBBEAF8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C45381-A556-48A3-9565-2CC81A9CD9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ACFC84-6CA2-4B55-8E0D-1F73C57314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800" y="863600"/>
            <a:ext cx="2592000" cy="4105275"/>
          </a:xfrm>
          <a:solidFill>
            <a:srgbClr val="0068AF"/>
          </a:solidFill>
        </p:spPr>
        <p:txBody>
          <a:bodyPr lIns="216000" tIns="360000" rIns="144000" bIns="360000"/>
          <a:lstStyle>
            <a:lvl1pPr marL="0" indent="0" algn="l">
              <a:spcBef>
                <a:spcPts val="0"/>
              </a:spcBef>
              <a:spcAft>
                <a:spcPts val="1000"/>
              </a:spcAft>
              <a:buNone/>
              <a:defRPr sz="2600" b="1">
                <a:solidFill>
                  <a:schemeClr val="bg1"/>
                </a:solidFill>
              </a:defRPr>
            </a:lvl1pPr>
            <a:lvl2pPr marL="0" indent="0" algn="l">
              <a:spcBef>
                <a:spcPts val="1000"/>
              </a:spcBef>
              <a:buNone/>
              <a:defRPr sz="2000" b="0">
                <a:solidFill>
                  <a:schemeClr val="bg1"/>
                </a:solidFill>
              </a:defRPr>
            </a:lvl2pPr>
            <a:lvl3pPr marL="719138" indent="-719138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3pPr>
            <a:lvl4pPr marL="1080000" indent="0" algn="l">
              <a:spcBef>
                <a:spcPts val="0"/>
              </a:spcBef>
              <a:buNone/>
              <a:defRPr sz="2600" b="1">
                <a:solidFill>
                  <a:schemeClr val="tx1"/>
                </a:solidFill>
              </a:defRPr>
            </a:lvl4pPr>
            <a:lvl5pPr marL="1440000" indent="0" algn="l">
              <a:spcBef>
                <a:spcPts val="0"/>
              </a:spcBef>
              <a:buNone/>
              <a:defRPr sz="2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87C1E97-4157-4722-9142-30DAF0ABA1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11574" y="863600"/>
            <a:ext cx="5472063" cy="4105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54470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spaltig Tex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2797550-BDEB-4493-A73E-BE77A12FC5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CE210-4427-4087-8FFE-59611676CFFE}" type="datetime1">
              <a:rPr lang="de-DE" smtClean="0"/>
              <a:t>24.11.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4CF833-9070-40EB-9C9E-0AFFBBEAF8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C45381-A556-48A3-9565-2CC81A9CD9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EACFC84-6CA2-4B55-8E0D-1F73C57314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800" y="863600"/>
            <a:ext cx="2592000" cy="4105275"/>
          </a:xfrm>
          <a:solidFill>
            <a:srgbClr val="0068AF"/>
          </a:solidFill>
        </p:spPr>
        <p:txBody>
          <a:bodyPr lIns="216000" tIns="360000" rIns="144000" bIns="360000"/>
          <a:lstStyle>
            <a:lvl1pPr marL="0" indent="0" algn="l">
              <a:spcBef>
                <a:spcPts val="0"/>
              </a:spcBef>
              <a:spcAft>
                <a:spcPts val="1000"/>
              </a:spcAft>
              <a:buNone/>
              <a:defRPr sz="2600" b="1">
                <a:solidFill>
                  <a:schemeClr val="bg1"/>
                </a:solidFill>
              </a:defRPr>
            </a:lvl1pPr>
            <a:lvl2pPr marL="0" indent="0" algn="l">
              <a:spcBef>
                <a:spcPts val="1000"/>
              </a:spcBef>
              <a:buNone/>
              <a:defRPr sz="2000" b="0">
                <a:solidFill>
                  <a:schemeClr val="bg1"/>
                </a:solidFill>
              </a:defRPr>
            </a:lvl2pPr>
            <a:lvl3pPr marL="719138" indent="-719138" algn="l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3pPr>
            <a:lvl4pPr marL="1080000" indent="0" algn="l">
              <a:spcBef>
                <a:spcPts val="0"/>
              </a:spcBef>
              <a:buNone/>
              <a:defRPr sz="2600" b="1">
                <a:solidFill>
                  <a:schemeClr val="tx1"/>
                </a:solidFill>
              </a:defRPr>
            </a:lvl4pPr>
            <a:lvl5pPr marL="1440000" indent="0" algn="l">
              <a:spcBef>
                <a:spcPts val="0"/>
              </a:spcBef>
              <a:buNone/>
              <a:defRPr sz="26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87C1E97-4157-4722-9142-30DAF0ABA1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11575" y="863600"/>
            <a:ext cx="2592000" cy="4105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D60B593F-2A8C-4E25-8364-AD550B5127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91895" y="863600"/>
            <a:ext cx="2592000" cy="41052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73794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(großformatig) +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F248B8E-B4D4-46D8-BAEC-058D254866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800" y="863600"/>
            <a:ext cx="8351838" cy="4105275"/>
          </a:xfrm>
          <a:solidFill>
            <a:srgbClr val="0068AF"/>
          </a:solidFill>
        </p:spPr>
        <p:txBody>
          <a:bodyPr lIns="576000" tIns="576000" rIns="5544000" bIns="2088000"/>
          <a:lstStyle>
            <a:lvl1pPr marL="0" indent="0">
              <a:buNone/>
              <a:defRPr sz="2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2149302-2969-427D-9DD1-3435C2390D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DB890B-F281-4CED-96B4-8F4B74650732}" type="datetime1">
              <a:rPr lang="de-DE" smtClean="0"/>
              <a:t>24.11.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9BEBE89-7CC6-4CBB-8D89-9C2B984FB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19A05AF-1D58-4CE6-BC08-E67A601E6A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7DD8A94-ECE8-4F6E-A93B-DA44BB13FAE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31800" y="863600"/>
            <a:ext cx="8351838" cy="4105275"/>
          </a:xfrm>
          <a:custGeom>
            <a:avLst/>
            <a:gdLst>
              <a:gd name="connsiteX0" fmla="*/ 359783 w 8351838"/>
              <a:gd name="connsiteY0" fmla="*/ 432643 h 4105275"/>
              <a:gd name="connsiteX1" fmla="*/ 359783 w 8351838"/>
              <a:gd name="connsiteY1" fmla="*/ 2880643 h 4105275"/>
              <a:gd name="connsiteX2" fmla="*/ 2951783 w 8351838"/>
              <a:gd name="connsiteY2" fmla="*/ 2880643 h 4105275"/>
              <a:gd name="connsiteX3" fmla="*/ 2951783 w 8351838"/>
              <a:gd name="connsiteY3" fmla="*/ 432643 h 4105275"/>
              <a:gd name="connsiteX4" fmla="*/ 0 w 8351838"/>
              <a:gd name="connsiteY4" fmla="*/ 0 h 4105275"/>
              <a:gd name="connsiteX5" fmla="*/ 8351838 w 8351838"/>
              <a:gd name="connsiteY5" fmla="*/ 0 h 4105275"/>
              <a:gd name="connsiteX6" fmla="*/ 8351838 w 8351838"/>
              <a:gd name="connsiteY6" fmla="*/ 4105275 h 4105275"/>
              <a:gd name="connsiteX7" fmla="*/ 0 w 8351838"/>
              <a:gd name="connsiteY7" fmla="*/ 4105275 h 410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51838" h="4105275">
                <a:moveTo>
                  <a:pt x="359783" y="432643"/>
                </a:moveTo>
                <a:lnTo>
                  <a:pt x="359783" y="2880643"/>
                </a:lnTo>
                <a:lnTo>
                  <a:pt x="2951783" y="2880643"/>
                </a:lnTo>
                <a:lnTo>
                  <a:pt x="2951783" y="432643"/>
                </a:lnTo>
                <a:close/>
                <a:moveTo>
                  <a:pt x="0" y="0"/>
                </a:moveTo>
                <a:lnTo>
                  <a:pt x="8351838" y="0"/>
                </a:lnTo>
                <a:lnTo>
                  <a:pt x="8351838" y="4105275"/>
                </a:lnTo>
                <a:lnTo>
                  <a:pt x="0" y="410527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44000" tIns="72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90645E2-B0AF-4FFF-B573-EE81DEFA61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0575" y="4752643"/>
            <a:ext cx="3673475" cy="144000"/>
          </a:xfrm>
        </p:spPr>
        <p:txBody>
          <a:bodyPr wrap="none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0"/>
            </a:lvl1pPr>
          </a:lstStyle>
          <a:p>
            <a:pPr lvl="0"/>
            <a:r>
              <a:rPr lang="de-DE" dirty="0"/>
              <a:t>Quelle hinzufügen</a:t>
            </a:r>
          </a:p>
        </p:txBody>
      </p:sp>
    </p:spTree>
    <p:extLst>
      <p:ext uri="{BB962C8B-B14F-4D97-AF65-F5344CB8AC3E}">
        <p14:creationId xmlns:p14="http://schemas.microsoft.com/office/powerpoint/2010/main" val="20966634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074F5C-519F-401E-B8DC-ABBE966DCE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F652DE8-4A9F-4A64-98A9-E56A24D1BC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2" y="1800225"/>
            <a:ext cx="8352382" cy="316842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10DA6540-5AE8-42DF-B039-4E61F06659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08EA98-BBD0-46D7-A4B6-03417A6EBCF7}" type="datetime1">
              <a:rPr lang="de-DE" smtClean="0"/>
              <a:t>24.11.2022</a:t>
            </a:fld>
            <a:endParaRPr lang="en-US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D6B704C-088A-4A56-BE10-5A4D2C609A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wasserportal.info: Infoservice für Wasserversorger und ihre Kunden</a:t>
            </a:r>
            <a:endParaRPr lang="en-US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CD2D232A-A3F7-448E-B544-A4D3BD526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166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(randabfallend) + Titel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3B93387-8199-4B37-AB48-6EFB10EC1B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863600"/>
            <a:ext cx="9215438" cy="4321175"/>
          </a:xfrm>
          <a:solidFill>
            <a:srgbClr val="0068AF"/>
          </a:solidFill>
        </p:spPr>
        <p:txBody>
          <a:bodyPr lIns="6048000" tIns="828000" rIns="576000" bIns="2160000"/>
          <a:lstStyle>
            <a:lvl1pPr>
              <a:spcBef>
                <a:spcPts val="0"/>
              </a:spcBef>
              <a:defRPr sz="2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BAE4131-6CF5-43E9-9AF5-8F58645741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E1C5B-3A7A-41C1-A75D-7061DF0AB05C}" type="datetime1">
              <a:rPr lang="de-DE" smtClean="0"/>
              <a:t>24.11.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61EE5BC-0FB7-4ADE-863C-3CD93DEA3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B31AD75-27EC-41C7-B35C-1BA97C64C9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E8BBB4D0-D6D2-4ED2-89FE-53F37DEBB79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863600"/>
            <a:ext cx="9215438" cy="4321175"/>
          </a:xfrm>
          <a:custGeom>
            <a:avLst/>
            <a:gdLst>
              <a:gd name="connsiteX0" fmla="*/ 6191895 w 9215438"/>
              <a:gd name="connsiteY0" fmla="*/ 649287 h 4321175"/>
              <a:gd name="connsiteX1" fmla="*/ 6191895 w 9215438"/>
              <a:gd name="connsiteY1" fmla="*/ 3097287 h 4321175"/>
              <a:gd name="connsiteX2" fmla="*/ 8783895 w 9215438"/>
              <a:gd name="connsiteY2" fmla="*/ 3097287 h 4321175"/>
              <a:gd name="connsiteX3" fmla="*/ 8783895 w 9215438"/>
              <a:gd name="connsiteY3" fmla="*/ 649287 h 4321175"/>
              <a:gd name="connsiteX4" fmla="*/ 0 w 9215438"/>
              <a:gd name="connsiteY4" fmla="*/ 0 h 4321175"/>
              <a:gd name="connsiteX5" fmla="*/ 9215438 w 9215438"/>
              <a:gd name="connsiteY5" fmla="*/ 0 h 4321175"/>
              <a:gd name="connsiteX6" fmla="*/ 9215438 w 9215438"/>
              <a:gd name="connsiteY6" fmla="*/ 4321175 h 4321175"/>
              <a:gd name="connsiteX7" fmla="*/ 0 w 9215438"/>
              <a:gd name="connsiteY7" fmla="*/ 4321175 h 432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15438" h="4321175">
                <a:moveTo>
                  <a:pt x="6191895" y="649287"/>
                </a:moveTo>
                <a:lnTo>
                  <a:pt x="6191895" y="3097287"/>
                </a:lnTo>
                <a:lnTo>
                  <a:pt x="8783895" y="3097287"/>
                </a:lnTo>
                <a:lnTo>
                  <a:pt x="8783895" y="649287"/>
                </a:lnTo>
                <a:close/>
                <a:moveTo>
                  <a:pt x="0" y="0"/>
                </a:moveTo>
                <a:lnTo>
                  <a:pt x="9215438" y="0"/>
                </a:lnTo>
                <a:lnTo>
                  <a:pt x="9215438" y="4321175"/>
                </a:lnTo>
                <a:lnTo>
                  <a:pt x="0" y="432117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432000" tIns="32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A88F502E-137E-47BE-BAD7-2CDDCE67D44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4824635"/>
            <a:ext cx="4032250" cy="144000"/>
          </a:xfrm>
        </p:spPr>
        <p:txBody>
          <a:bodyPr wrap="none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0"/>
            </a:lvl1pPr>
          </a:lstStyle>
          <a:p>
            <a:pPr lvl="0"/>
            <a:r>
              <a:rPr lang="de-DE" dirty="0"/>
              <a:t>Quelle hinzufügen</a:t>
            </a:r>
          </a:p>
        </p:txBody>
      </p:sp>
    </p:spTree>
    <p:extLst>
      <p:ext uri="{BB962C8B-B14F-4D97-AF65-F5344CB8AC3E}">
        <p14:creationId xmlns:p14="http://schemas.microsoft.com/office/powerpoint/2010/main" val="39984395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EF79AF-9987-4D87-BF59-C9124DE9D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CF0D1A3-9C30-4EBE-95A8-EC5188BCA5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4FE1C-5F28-46B9-BDFF-8ACCF0042078}" type="datetime1">
              <a:rPr lang="de-DE" smtClean="0"/>
              <a:t>24.11.2022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62D49EB-C43D-4EDA-9303-261C48851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0CCE1D69-E2C3-4327-A150-9907574628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8436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4CD471B-F069-4F58-8FFD-247DBBEF1D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DDED9-A673-43D2-A13C-7EE4BCB08180}" type="datetime1">
              <a:rPr lang="de-DE" smtClean="0"/>
              <a:t>24.11.2022</a:t>
            </a:fld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AD5BC863-5791-4E61-BED5-2D160C7298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739D196-54BD-4D01-978C-007DE5A0B2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3359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67071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B6C2A7ED-3E27-439F-AEFC-E742B9DAC482}"/>
              </a:ext>
            </a:extLst>
          </p:cNvPr>
          <p:cNvSpPr txBox="1">
            <a:spLocks/>
          </p:cNvSpPr>
          <p:nvPr/>
        </p:nvSpPr>
        <p:spPr>
          <a:xfrm>
            <a:off x="431255" y="2664395"/>
            <a:ext cx="6192000" cy="1150362"/>
          </a:xfrm>
          <a:prstGeom prst="rect">
            <a:avLst/>
          </a:prstGeom>
        </p:spPr>
        <p:txBody>
          <a:bodyPr lIns="0" tIns="0" rIns="0" bIns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endParaRPr lang="de-DE" sz="1600" dirty="0"/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r>
              <a:rPr lang="de-DE" sz="1600" dirty="0"/>
              <a:t>T 	+49 30 300199-</a:t>
            </a:r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br>
              <a:rPr lang="de-DE" sz="1600" dirty="0"/>
            </a:br>
            <a:endParaRPr lang="de-DE" sz="1600" dirty="0"/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r>
              <a:rPr lang="de-DE" sz="1600" dirty="0"/>
              <a:t>www.bdew.de</a:t>
            </a:r>
          </a:p>
        </p:txBody>
      </p:sp>
      <p:sp>
        <p:nvSpPr>
          <p:cNvPr id="8" name="Textplatzhalter 24">
            <a:extLst>
              <a:ext uri="{FF2B5EF4-FFF2-40B4-BE49-F238E27FC236}">
                <a16:creationId xmlns:a16="http://schemas.microsoft.com/office/drawing/2014/main" id="{163336B0-2170-409A-84C2-E385D2F84FAD}"/>
              </a:ext>
            </a:extLst>
          </p:cNvPr>
          <p:cNvSpPr txBox="1">
            <a:spLocks/>
          </p:cNvSpPr>
          <p:nvPr/>
        </p:nvSpPr>
        <p:spPr>
          <a:xfrm>
            <a:off x="431255" y="3888587"/>
            <a:ext cx="6480000" cy="50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de-DE" sz="1600" b="1" dirty="0">
                <a:solidFill>
                  <a:schemeClr val="bg1"/>
                </a:solidFill>
              </a:rPr>
              <a:t>BDEW Bundesverband der Energie- und Wasserwirtschaft e.V.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600" dirty="0">
                <a:solidFill>
                  <a:schemeClr val="bg1"/>
                </a:solidFill>
              </a:rPr>
              <a:t>Reinhardtstraße 32 · 10117 Berlin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D9A01EA3-8451-411A-A54D-13395C21C1FB}"/>
              </a:ext>
            </a:extLst>
          </p:cNvPr>
          <p:cNvSpPr>
            <a:spLocks noChangeArrowheads="1"/>
          </p:cNvSpPr>
          <p:nvPr/>
        </p:nvSpPr>
        <p:spPr bwMode="hidden">
          <a:xfrm>
            <a:off x="144000" y="144000"/>
            <a:ext cx="8928000" cy="4896000"/>
          </a:xfrm>
          <a:prstGeom prst="rect">
            <a:avLst/>
          </a:prstGeom>
          <a:noFill/>
          <a:ln w="12700">
            <a:solidFill>
              <a:schemeClr val="bg2"/>
            </a:solidFill>
          </a:ln>
          <a:effectLst/>
        </p:spPr>
        <p:txBody>
          <a:bodyPr wrap="none" anchor="ctr"/>
          <a:lstStyle/>
          <a:p>
            <a:endParaRPr lang="de-DE" sz="1828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5904070-0BA0-4AE0-842E-83FD5922B850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7270676" y="576162"/>
            <a:ext cx="1800225" cy="1224000"/>
            <a:chOff x="7271990" y="576162"/>
            <a:chExt cx="1800225" cy="1224000"/>
          </a:xfrm>
        </p:grpSpPr>
        <p:sp>
          <p:nvSpPr>
            <p:cNvPr id="11" name="Rectangle 6">
              <a:extLst>
                <a:ext uri="{FF2B5EF4-FFF2-40B4-BE49-F238E27FC236}">
                  <a16:creationId xmlns:a16="http://schemas.microsoft.com/office/drawing/2014/main" id="{8E3F5386-A68E-4783-91A4-7ABCEF0F6CA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71990" y="576162"/>
              <a:ext cx="1800225" cy="1224000"/>
            </a:xfrm>
            <a:prstGeom prst="rect">
              <a:avLst/>
            </a:prstGeom>
            <a:solidFill>
              <a:srgbClr val="C2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43DDAB11-4336-45B9-8C7A-BFB021B00D43}"/>
                </a:ext>
              </a:extLst>
            </p:cNvPr>
            <p:cNvGrpSpPr/>
            <p:nvPr/>
          </p:nvGrpSpPr>
          <p:grpSpPr bwMode="gray">
            <a:xfrm>
              <a:off x="7538786" y="868025"/>
              <a:ext cx="1244600" cy="646113"/>
              <a:chOff x="7538786" y="868025"/>
              <a:chExt cx="1244600" cy="646113"/>
            </a:xfrm>
          </p:grpSpPr>
          <p:sp>
            <p:nvSpPr>
              <p:cNvPr id="13" name="Freeform 38">
                <a:extLst>
                  <a:ext uri="{FF2B5EF4-FFF2-40B4-BE49-F238E27FC236}">
                    <a16:creationId xmlns:a16="http://schemas.microsoft.com/office/drawing/2014/main" id="{AAF8BDAB-1509-41A4-95CE-55A836221A3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1398250"/>
                <a:ext cx="1244600" cy="115888"/>
              </a:xfrm>
              <a:custGeom>
                <a:avLst/>
                <a:gdLst>
                  <a:gd name="T0" fmla="*/ 1559 w 1559"/>
                  <a:gd name="T1" fmla="*/ 104 h 146"/>
                  <a:gd name="T2" fmla="*/ 1471 w 1559"/>
                  <a:gd name="T3" fmla="*/ 48 h 146"/>
                  <a:gd name="T4" fmla="*/ 1472 w 1559"/>
                  <a:gd name="T5" fmla="*/ 114 h 146"/>
                  <a:gd name="T6" fmla="*/ 1518 w 1559"/>
                  <a:gd name="T7" fmla="*/ 114 h 146"/>
                  <a:gd name="T8" fmla="*/ 1433 w 1559"/>
                  <a:gd name="T9" fmla="*/ 74 h 146"/>
                  <a:gd name="T10" fmla="*/ 1431 w 1559"/>
                  <a:gd name="T11" fmla="*/ 92 h 146"/>
                  <a:gd name="T12" fmla="*/ 1332 w 1559"/>
                  <a:gd name="T13" fmla="*/ 75 h 146"/>
                  <a:gd name="T14" fmla="*/ 1332 w 1559"/>
                  <a:gd name="T15" fmla="*/ 75 h 146"/>
                  <a:gd name="T16" fmla="*/ 1304 w 1559"/>
                  <a:gd name="T17" fmla="*/ 2 h 146"/>
                  <a:gd name="T18" fmla="*/ 1303 w 1559"/>
                  <a:gd name="T19" fmla="*/ 108 h 146"/>
                  <a:gd name="T20" fmla="*/ 1232 w 1559"/>
                  <a:gd name="T21" fmla="*/ 51 h 146"/>
                  <a:gd name="T22" fmla="*/ 1231 w 1559"/>
                  <a:gd name="T23" fmla="*/ 115 h 146"/>
                  <a:gd name="T24" fmla="*/ 1265 w 1559"/>
                  <a:gd name="T25" fmla="*/ 80 h 146"/>
                  <a:gd name="T26" fmla="*/ 1145 w 1559"/>
                  <a:gd name="T27" fmla="*/ 11 h 146"/>
                  <a:gd name="T28" fmla="*/ 1061 w 1559"/>
                  <a:gd name="T29" fmla="*/ 92 h 146"/>
                  <a:gd name="T30" fmla="*/ 1044 w 1559"/>
                  <a:gd name="T31" fmla="*/ 37 h 146"/>
                  <a:gd name="T32" fmla="*/ 1008 w 1559"/>
                  <a:gd name="T33" fmla="*/ 56 h 146"/>
                  <a:gd name="T34" fmla="*/ 1051 w 1559"/>
                  <a:gd name="T35" fmla="*/ 54 h 146"/>
                  <a:gd name="T36" fmla="*/ 970 w 1559"/>
                  <a:gd name="T37" fmla="*/ 68 h 146"/>
                  <a:gd name="T38" fmla="*/ 989 w 1559"/>
                  <a:gd name="T39" fmla="*/ 108 h 146"/>
                  <a:gd name="T40" fmla="*/ 990 w 1559"/>
                  <a:gd name="T41" fmla="*/ 74 h 146"/>
                  <a:gd name="T42" fmla="*/ 906 w 1559"/>
                  <a:gd name="T43" fmla="*/ 57 h 146"/>
                  <a:gd name="T44" fmla="*/ 892 w 1559"/>
                  <a:gd name="T45" fmla="*/ 92 h 146"/>
                  <a:gd name="T46" fmla="*/ 911 w 1559"/>
                  <a:gd name="T47" fmla="*/ 91 h 146"/>
                  <a:gd name="T48" fmla="*/ 837 w 1559"/>
                  <a:gd name="T49" fmla="*/ 57 h 146"/>
                  <a:gd name="T50" fmla="*/ 823 w 1559"/>
                  <a:gd name="T51" fmla="*/ 92 h 146"/>
                  <a:gd name="T52" fmla="*/ 843 w 1559"/>
                  <a:gd name="T53" fmla="*/ 91 h 146"/>
                  <a:gd name="T54" fmla="*/ 749 w 1559"/>
                  <a:gd name="T55" fmla="*/ 80 h 146"/>
                  <a:gd name="T56" fmla="*/ 765 w 1559"/>
                  <a:gd name="T57" fmla="*/ 43 h 146"/>
                  <a:gd name="T58" fmla="*/ 749 w 1559"/>
                  <a:gd name="T59" fmla="*/ 61 h 146"/>
                  <a:gd name="T60" fmla="*/ 751 w 1559"/>
                  <a:gd name="T61" fmla="*/ 107 h 146"/>
                  <a:gd name="T62" fmla="*/ 667 w 1559"/>
                  <a:gd name="T63" fmla="*/ 61 h 146"/>
                  <a:gd name="T64" fmla="*/ 613 w 1559"/>
                  <a:gd name="T65" fmla="*/ 61 h 146"/>
                  <a:gd name="T66" fmla="*/ 597 w 1559"/>
                  <a:gd name="T67" fmla="*/ 114 h 146"/>
                  <a:gd name="T68" fmla="*/ 650 w 1559"/>
                  <a:gd name="T69" fmla="*/ 114 h 146"/>
                  <a:gd name="T70" fmla="*/ 512 w 1559"/>
                  <a:gd name="T71" fmla="*/ 104 h 146"/>
                  <a:gd name="T72" fmla="*/ 464 w 1559"/>
                  <a:gd name="T73" fmla="*/ 51 h 146"/>
                  <a:gd name="T74" fmla="*/ 462 w 1559"/>
                  <a:gd name="T75" fmla="*/ 115 h 146"/>
                  <a:gd name="T76" fmla="*/ 496 w 1559"/>
                  <a:gd name="T77" fmla="*/ 80 h 146"/>
                  <a:gd name="T78" fmla="*/ 393 w 1559"/>
                  <a:gd name="T79" fmla="*/ 38 h 146"/>
                  <a:gd name="T80" fmla="*/ 391 w 1559"/>
                  <a:gd name="T81" fmla="*/ 12 h 146"/>
                  <a:gd name="T82" fmla="*/ 326 w 1559"/>
                  <a:gd name="T83" fmla="*/ 75 h 146"/>
                  <a:gd name="T84" fmla="*/ 355 w 1559"/>
                  <a:gd name="T85" fmla="*/ 38 h 146"/>
                  <a:gd name="T86" fmla="*/ 353 w 1559"/>
                  <a:gd name="T87" fmla="*/ 103 h 146"/>
                  <a:gd name="T88" fmla="*/ 310 w 1559"/>
                  <a:gd name="T89" fmla="*/ 122 h 146"/>
                  <a:gd name="T90" fmla="*/ 373 w 1559"/>
                  <a:gd name="T91" fmla="*/ 56 h 146"/>
                  <a:gd name="T92" fmla="*/ 269 w 1559"/>
                  <a:gd name="T93" fmla="*/ 47 h 146"/>
                  <a:gd name="T94" fmla="*/ 270 w 1559"/>
                  <a:gd name="T95" fmla="*/ 114 h 146"/>
                  <a:gd name="T96" fmla="*/ 211 w 1559"/>
                  <a:gd name="T97" fmla="*/ 68 h 146"/>
                  <a:gd name="T98" fmla="*/ 198 w 1559"/>
                  <a:gd name="T99" fmla="*/ 36 h 146"/>
                  <a:gd name="T100" fmla="*/ 200 w 1559"/>
                  <a:gd name="T101" fmla="*/ 100 h 146"/>
                  <a:gd name="T102" fmla="*/ 148 w 1559"/>
                  <a:gd name="T103" fmla="*/ 62 h 146"/>
                  <a:gd name="T104" fmla="*/ 81 w 1559"/>
                  <a:gd name="T105" fmla="*/ 38 h 146"/>
                  <a:gd name="T106" fmla="*/ 119 w 1559"/>
                  <a:gd name="T107" fmla="*/ 54 h 146"/>
                  <a:gd name="T108" fmla="*/ 66 w 1559"/>
                  <a:gd name="T109" fmla="*/ 96 h 146"/>
                  <a:gd name="T110" fmla="*/ 21 w 1559"/>
                  <a:gd name="T111" fmla="*/ 52 h 146"/>
                  <a:gd name="T112" fmla="*/ 0 w 1559"/>
                  <a:gd name="T113" fmla="*/ 11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59" h="146">
                    <a:moveTo>
                      <a:pt x="1559" y="104"/>
                    </a:moveTo>
                    <a:cubicBezTo>
                      <a:pt x="1559" y="98"/>
                      <a:pt x="1556" y="92"/>
                      <a:pt x="1547" y="92"/>
                    </a:cubicBezTo>
                    <a:cubicBezTo>
                      <a:pt x="1539" y="92"/>
                      <a:pt x="1535" y="98"/>
                      <a:pt x="1535" y="104"/>
                    </a:cubicBezTo>
                    <a:cubicBezTo>
                      <a:pt x="1535" y="110"/>
                      <a:pt x="1539" y="116"/>
                      <a:pt x="1547" y="116"/>
                    </a:cubicBezTo>
                    <a:cubicBezTo>
                      <a:pt x="1556" y="116"/>
                      <a:pt x="1559" y="110"/>
                      <a:pt x="1559" y="104"/>
                    </a:cubicBezTo>
                    <a:close/>
                    <a:moveTo>
                      <a:pt x="1518" y="114"/>
                    </a:moveTo>
                    <a:lnTo>
                      <a:pt x="1518" y="62"/>
                    </a:lnTo>
                    <a:cubicBezTo>
                      <a:pt x="1518" y="55"/>
                      <a:pt x="1517" y="49"/>
                      <a:pt x="1514" y="45"/>
                    </a:cubicBezTo>
                    <a:cubicBezTo>
                      <a:pt x="1510" y="39"/>
                      <a:pt x="1504" y="36"/>
                      <a:pt x="1495" y="36"/>
                    </a:cubicBezTo>
                    <a:cubicBezTo>
                      <a:pt x="1485" y="36"/>
                      <a:pt x="1474" y="45"/>
                      <a:pt x="1471" y="48"/>
                    </a:cubicBezTo>
                    <a:cubicBezTo>
                      <a:pt x="1471" y="43"/>
                      <a:pt x="1470" y="38"/>
                      <a:pt x="1470" y="38"/>
                    </a:cubicBezTo>
                    <a:lnTo>
                      <a:pt x="1450" y="38"/>
                    </a:lnTo>
                    <a:cubicBezTo>
                      <a:pt x="1450" y="38"/>
                      <a:pt x="1451" y="47"/>
                      <a:pt x="1451" y="56"/>
                    </a:cubicBezTo>
                    <a:lnTo>
                      <a:pt x="1451" y="114"/>
                    </a:lnTo>
                    <a:lnTo>
                      <a:pt x="1472" y="114"/>
                    </a:lnTo>
                    <a:lnTo>
                      <a:pt x="1472" y="62"/>
                    </a:lnTo>
                    <a:cubicBezTo>
                      <a:pt x="1475" y="59"/>
                      <a:pt x="1482" y="54"/>
                      <a:pt x="1488" y="54"/>
                    </a:cubicBezTo>
                    <a:cubicBezTo>
                      <a:pt x="1493" y="54"/>
                      <a:pt x="1497" y="55"/>
                      <a:pt x="1497" y="64"/>
                    </a:cubicBezTo>
                    <a:lnTo>
                      <a:pt x="1497" y="114"/>
                    </a:lnTo>
                    <a:lnTo>
                      <a:pt x="1518" y="114"/>
                    </a:lnTo>
                    <a:close/>
                    <a:moveTo>
                      <a:pt x="1413" y="68"/>
                    </a:moveTo>
                    <a:lnTo>
                      <a:pt x="1389" y="68"/>
                    </a:lnTo>
                    <a:cubicBezTo>
                      <a:pt x="1389" y="62"/>
                      <a:pt x="1391" y="51"/>
                      <a:pt x="1400" y="51"/>
                    </a:cubicBezTo>
                    <a:cubicBezTo>
                      <a:pt x="1411" y="51"/>
                      <a:pt x="1413" y="62"/>
                      <a:pt x="1413" y="68"/>
                    </a:cubicBezTo>
                    <a:close/>
                    <a:moveTo>
                      <a:pt x="1433" y="74"/>
                    </a:moveTo>
                    <a:cubicBezTo>
                      <a:pt x="1433" y="56"/>
                      <a:pt x="1426" y="36"/>
                      <a:pt x="1400" y="36"/>
                    </a:cubicBezTo>
                    <a:cubicBezTo>
                      <a:pt x="1378" y="36"/>
                      <a:pt x="1367" y="56"/>
                      <a:pt x="1367" y="76"/>
                    </a:cubicBezTo>
                    <a:cubicBezTo>
                      <a:pt x="1367" y="90"/>
                      <a:pt x="1372" y="115"/>
                      <a:pt x="1399" y="115"/>
                    </a:cubicBezTo>
                    <a:cubicBezTo>
                      <a:pt x="1420" y="115"/>
                      <a:pt x="1432" y="108"/>
                      <a:pt x="1432" y="108"/>
                    </a:cubicBezTo>
                    <a:lnTo>
                      <a:pt x="1431" y="92"/>
                    </a:lnTo>
                    <a:cubicBezTo>
                      <a:pt x="1431" y="92"/>
                      <a:pt x="1416" y="100"/>
                      <a:pt x="1402" y="100"/>
                    </a:cubicBezTo>
                    <a:cubicBezTo>
                      <a:pt x="1393" y="100"/>
                      <a:pt x="1389" y="94"/>
                      <a:pt x="1389" y="80"/>
                    </a:cubicBezTo>
                    <a:lnTo>
                      <a:pt x="1433" y="80"/>
                    </a:lnTo>
                    <a:cubicBezTo>
                      <a:pt x="1433" y="80"/>
                      <a:pt x="1433" y="76"/>
                      <a:pt x="1433" y="74"/>
                    </a:cubicBezTo>
                    <a:moveTo>
                      <a:pt x="1332" y="75"/>
                    </a:moveTo>
                    <a:cubicBezTo>
                      <a:pt x="1332" y="93"/>
                      <a:pt x="1326" y="99"/>
                      <a:pt x="1319" y="99"/>
                    </a:cubicBezTo>
                    <a:cubicBezTo>
                      <a:pt x="1316" y="99"/>
                      <a:pt x="1310" y="97"/>
                      <a:pt x="1304" y="94"/>
                    </a:cubicBezTo>
                    <a:lnTo>
                      <a:pt x="1304" y="59"/>
                    </a:lnTo>
                    <a:cubicBezTo>
                      <a:pt x="1310" y="54"/>
                      <a:pt x="1316" y="53"/>
                      <a:pt x="1320" y="53"/>
                    </a:cubicBezTo>
                    <a:cubicBezTo>
                      <a:pt x="1330" y="53"/>
                      <a:pt x="1332" y="67"/>
                      <a:pt x="1332" y="75"/>
                    </a:cubicBezTo>
                    <a:close/>
                    <a:moveTo>
                      <a:pt x="1353" y="76"/>
                    </a:moveTo>
                    <a:cubicBezTo>
                      <a:pt x="1353" y="60"/>
                      <a:pt x="1349" y="36"/>
                      <a:pt x="1324" y="36"/>
                    </a:cubicBezTo>
                    <a:cubicBezTo>
                      <a:pt x="1315" y="36"/>
                      <a:pt x="1306" y="43"/>
                      <a:pt x="1304" y="44"/>
                    </a:cubicBezTo>
                    <a:cubicBezTo>
                      <a:pt x="1304" y="44"/>
                      <a:pt x="1304" y="39"/>
                      <a:pt x="1304" y="36"/>
                    </a:cubicBezTo>
                    <a:lnTo>
                      <a:pt x="1304" y="2"/>
                    </a:lnTo>
                    <a:lnTo>
                      <a:pt x="1284" y="4"/>
                    </a:lnTo>
                    <a:lnTo>
                      <a:pt x="1284" y="98"/>
                    </a:lnTo>
                    <a:cubicBezTo>
                      <a:pt x="1284" y="105"/>
                      <a:pt x="1283" y="114"/>
                      <a:pt x="1283" y="114"/>
                    </a:cubicBezTo>
                    <a:lnTo>
                      <a:pt x="1302" y="114"/>
                    </a:lnTo>
                    <a:cubicBezTo>
                      <a:pt x="1303" y="112"/>
                      <a:pt x="1303" y="109"/>
                      <a:pt x="1303" y="108"/>
                    </a:cubicBezTo>
                    <a:cubicBezTo>
                      <a:pt x="1304" y="109"/>
                      <a:pt x="1313" y="115"/>
                      <a:pt x="1324" y="115"/>
                    </a:cubicBezTo>
                    <a:cubicBezTo>
                      <a:pt x="1342" y="115"/>
                      <a:pt x="1353" y="98"/>
                      <a:pt x="1353" y="76"/>
                    </a:cubicBezTo>
                    <a:moveTo>
                      <a:pt x="1245" y="68"/>
                    </a:moveTo>
                    <a:lnTo>
                      <a:pt x="1221" y="68"/>
                    </a:lnTo>
                    <a:cubicBezTo>
                      <a:pt x="1221" y="62"/>
                      <a:pt x="1223" y="51"/>
                      <a:pt x="1232" y="51"/>
                    </a:cubicBezTo>
                    <a:cubicBezTo>
                      <a:pt x="1243" y="51"/>
                      <a:pt x="1245" y="62"/>
                      <a:pt x="1245" y="68"/>
                    </a:cubicBezTo>
                    <a:close/>
                    <a:moveTo>
                      <a:pt x="1265" y="74"/>
                    </a:moveTo>
                    <a:cubicBezTo>
                      <a:pt x="1265" y="56"/>
                      <a:pt x="1258" y="36"/>
                      <a:pt x="1232" y="36"/>
                    </a:cubicBezTo>
                    <a:cubicBezTo>
                      <a:pt x="1210" y="36"/>
                      <a:pt x="1199" y="56"/>
                      <a:pt x="1199" y="76"/>
                    </a:cubicBezTo>
                    <a:cubicBezTo>
                      <a:pt x="1199" y="90"/>
                      <a:pt x="1204" y="115"/>
                      <a:pt x="1231" y="115"/>
                    </a:cubicBezTo>
                    <a:cubicBezTo>
                      <a:pt x="1251" y="115"/>
                      <a:pt x="1264" y="108"/>
                      <a:pt x="1264" y="108"/>
                    </a:cubicBezTo>
                    <a:lnTo>
                      <a:pt x="1263" y="92"/>
                    </a:lnTo>
                    <a:cubicBezTo>
                      <a:pt x="1263" y="92"/>
                      <a:pt x="1248" y="100"/>
                      <a:pt x="1234" y="100"/>
                    </a:cubicBezTo>
                    <a:cubicBezTo>
                      <a:pt x="1225" y="100"/>
                      <a:pt x="1221" y="94"/>
                      <a:pt x="1221" y="80"/>
                    </a:cubicBezTo>
                    <a:lnTo>
                      <a:pt x="1265" y="80"/>
                    </a:lnTo>
                    <a:cubicBezTo>
                      <a:pt x="1265" y="80"/>
                      <a:pt x="1265" y="76"/>
                      <a:pt x="1265" y="74"/>
                    </a:cubicBezTo>
                    <a:moveTo>
                      <a:pt x="1188" y="114"/>
                    </a:moveTo>
                    <a:lnTo>
                      <a:pt x="1188" y="95"/>
                    </a:lnTo>
                    <a:lnTo>
                      <a:pt x="1145" y="95"/>
                    </a:lnTo>
                    <a:lnTo>
                      <a:pt x="1145" y="11"/>
                    </a:lnTo>
                    <a:lnTo>
                      <a:pt x="1124" y="11"/>
                    </a:lnTo>
                    <a:lnTo>
                      <a:pt x="1124" y="114"/>
                    </a:lnTo>
                    <a:lnTo>
                      <a:pt x="1188" y="114"/>
                    </a:lnTo>
                    <a:close/>
                    <a:moveTo>
                      <a:pt x="1073" y="104"/>
                    </a:moveTo>
                    <a:cubicBezTo>
                      <a:pt x="1073" y="98"/>
                      <a:pt x="1069" y="92"/>
                      <a:pt x="1061" y="92"/>
                    </a:cubicBezTo>
                    <a:cubicBezTo>
                      <a:pt x="1053" y="92"/>
                      <a:pt x="1048" y="98"/>
                      <a:pt x="1048" y="104"/>
                    </a:cubicBezTo>
                    <a:cubicBezTo>
                      <a:pt x="1048" y="110"/>
                      <a:pt x="1053" y="116"/>
                      <a:pt x="1061" y="116"/>
                    </a:cubicBezTo>
                    <a:cubicBezTo>
                      <a:pt x="1069" y="116"/>
                      <a:pt x="1073" y="110"/>
                      <a:pt x="1073" y="104"/>
                    </a:cubicBezTo>
                    <a:close/>
                    <a:moveTo>
                      <a:pt x="1053" y="38"/>
                    </a:moveTo>
                    <a:cubicBezTo>
                      <a:pt x="1053" y="38"/>
                      <a:pt x="1052" y="37"/>
                      <a:pt x="1044" y="37"/>
                    </a:cubicBezTo>
                    <a:cubicBezTo>
                      <a:pt x="1038" y="37"/>
                      <a:pt x="1032" y="42"/>
                      <a:pt x="1029" y="45"/>
                    </a:cubicBezTo>
                    <a:cubicBezTo>
                      <a:pt x="1029" y="46"/>
                      <a:pt x="1028" y="47"/>
                      <a:pt x="1028" y="47"/>
                    </a:cubicBezTo>
                    <a:cubicBezTo>
                      <a:pt x="1028" y="43"/>
                      <a:pt x="1027" y="38"/>
                      <a:pt x="1027" y="38"/>
                    </a:cubicBezTo>
                    <a:lnTo>
                      <a:pt x="1007" y="38"/>
                    </a:lnTo>
                    <a:cubicBezTo>
                      <a:pt x="1007" y="38"/>
                      <a:pt x="1008" y="47"/>
                      <a:pt x="1008" y="56"/>
                    </a:cubicBezTo>
                    <a:lnTo>
                      <a:pt x="1008" y="114"/>
                    </a:lnTo>
                    <a:lnTo>
                      <a:pt x="1029" y="114"/>
                    </a:lnTo>
                    <a:lnTo>
                      <a:pt x="1029" y="60"/>
                    </a:lnTo>
                    <a:cubicBezTo>
                      <a:pt x="1034" y="56"/>
                      <a:pt x="1039" y="53"/>
                      <a:pt x="1041" y="53"/>
                    </a:cubicBezTo>
                    <a:cubicBezTo>
                      <a:pt x="1047" y="53"/>
                      <a:pt x="1051" y="54"/>
                      <a:pt x="1051" y="54"/>
                    </a:cubicBezTo>
                    <a:lnTo>
                      <a:pt x="1053" y="38"/>
                    </a:lnTo>
                    <a:close/>
                    <a:moveTo>
                      <a:pt x="970" y="68"/>
                    </a:moveTo>
                    <a:lnTo>
                      <a:pt x="946" y="68"/>
                    </a:lnTo>
                    <a:cubicBezTo>
                      <a:pt x="946" y="62"/>
                      <a:pt x="948" y="51"/>
                      <a:pt x="958" y="51"/>
                    </a:cubicBezTo>
                    <a:cubicBezTo>
                      <a:pt x="968" y="51"/>
                      <a:pt x="970" y="62"/>
                      <a:pt x="970" y="68"/>
                    </a:cubicBezTo>
                    <a:close/>
                    <a:moveTo>
                      <a:pt x="990" y="74"/>
                    </a:moveTo>
                    <a:cubicBezTo>
                      <a:pt x="990" y="56"/>
                      <a:pt x="983" y="36"/>
                      <a:pt x="958" y="36"/>
                    </a:cubicBezTo>
                    <a:cubicBezTo>
                      <a:pt x="935" y="36"/>
                      <a:pt x="925" y="56"/>
                      <a:pt x="925" y="76"/>
                    </a:cubicBezTo>
                    <a:cubicBezTo>
                      <a:pt x="925" y="90"/>
                      <a:pt x="929" y="115"/>
                      <a:pt x="956" y="115"/>
                    </a:cubicBezTo>
                    <a:cubicBezTo>
                      <a:pt x="977" y="115"/>
                      <a:pt x="989" y="108"/>
                      <a:pt x="989" y="108"/>
                    </a:cubicBezTo>
                    <a:lnTo>
                      <a:pt x="988" y="92"/>
                    </a:lnTo>
                    <a:cubicBezTo>
                      <a:pt x="988" y="92"/>
                      <a:pt x="974" y="100"/>
                      <a:pt x="960" y="100"/>
                    </a:cubicBezTo>
                    <a:cubicBezTo>
                      <a:pt x="951" y="100"/>
                      <a:pt x="946" y="94"/>
                      <a:pt x="946" y="80"/>
                    </a:cubicBezTo>
                    <a:lnTo>
                      <a:pt x="990" y="80"/>
                    </a:lnTo>
                    <a:cubicBezTo>
                      <a:pt x="990" y="80"/>
                      <a:pt x="990" y="76"/>
                      <a:pt x="990" y="74"/>
                    </a:cubicBezTo>
                    <a:moveTo>
                      <a:pt x="911" y="91"/>
                    </a:moveTo>
                    <a:cubicBezTo>
                      <a:pt x="911" y="73"/>
                      <a:pt x="894" y="70"/>
                      <a:pt x="882" y="64"/>
                    </a:cubicBezTo>
                    <a:cubicBezTo>
                      <a:pt x="879" y="63"/>
                      <a:pt x="876" y="61"/>
                      <a:pt x="876" y="58"/>
                    </a:cubicBezTo>
                    <a:cubicBezTo>
                      <a:pt x="876" y="56"/>
                      <a:pt x="878" y="52"/>
                      <a:pt x="884" y="52"/>
                    </a:cubicBezTo>
                    <a:cubicBezTo>
                      <a:pt x="894" y="52"/>
                      <a:pt x="906" y="57"/>
                      <a:pt x="906" y="57"/>
                    </a:cubicBezTo>
                    <a:lnTo>
                      <a:pt x="907" y="40"/>
                    </a:lnTo>
                    <a:cubicBezTo>
                      <a:pt x="907" y="40"/>
                      <a:pt x="897" y="36"/>
                      <a:pt x="885" y="36"/>
                    </a:cubicBezTo>
                    <a:cubicBezTo>
                      <a:pt x="870" y="36"/>
                      <a:pt x="857" y="44"/>
                      <a:pt x="857" y="60"/>
                    </a:cubicBezTo>
                    <a:cubicBezTo>
                      <a:pt x="857" y="77"/>
                      <a:pt x="874" y="80"/>
                      <a:pt x="885" y="85"/>
                    </a:cubicBezTo>
                    <a:cubicBezTo>
                      <a:pt x="889" y="87"/>
                      <a:pt x="892" y="89"/>
                      <a:pt x="892" y="92"/>
                    </a:cubicBezTo>
                    <a:cubicBezTo>
                      <a:pt x="892" y="96"/>
                      <a:pt x="888" y="99"/>
                      <a:pt x="883" y="99"/>
                    </a:cubicBezTo>
                    <a:cubicBezTo>
                      <a:pt x="872" y="99"/>
                      <a:pt x="857" y="91"/>
                      <a:pt x="857" y="91"/>
                    </a:cubicBezTo>
                    <a:lnTo>
                      <a:pt x="856" y="110"/>
                    </a:lnTo>
                    <a:cubicBezTo>
                      <a:pt x="856" y="110"/>
                      <a:pt x="869" y="116"/>
                      <a:pt x="883" y="116"/>
                    </a:cubicBezTo>
                    <a:cubicBezTo>
                      <a:pt x="898" y="116"/>
                      <a:pt x="911" y="108"/>
                      <a:pt x="911" y="91"/>
                    </a:cubicBezTo>
                    <a:close/>
                    <a:moveTo>
                      <a:pt x="843" y="91"/>
                    </a:moveTo>
                    <a:cubicBezTo>
                      <a:pt x="843" y="73"/>
                      <a:pt x="826" y="70"/>
                      <a:pt x="813" y="64"/>
                    </a:cubicBezTo>
                    <a:cubicBezTo>
                      <a:pt x="810" y="63"/>
                      <a:pt x="807" y="61"/>
                      <a:pt x="807" y="58"/>
                    </a:cubicBezTo>
                    <a:cubicBezTo>
                      <a:pt x="807" y="56"/>
                      <a:pt x="809" y="52"/>
                      <a:pt x="815" y="52"/>
                    </a:cubicBezTo>
                    <a:cubicBezTo>
                      <a:pt x="825" y="52"/>
                      <a:pt x="837" y="57"/>
                      <a:pt x="837" y="57"/>
                    </a:cubicBezTo>
                    <a:lnTo>
                      <a:pt x="838" y="40"/>
                    </a:lnTo>
                    <a:cubicBezTo>
                      <a:pt x="838" y="40"/>
                      <a:pt x="828" y="36"/>
                      <a:pt x="816" y="36"/>
                    </a:cubicBezTo>
                    <a:cubicBezTo>
                      <a:pt x="801" y="36"/>
                      <a:pt x="788" y="44"/>
                      <a:pt x="788" y="60"/>
                    </a:cubicBezTo>
                    <a:cubicBezTo>
                      <a:pt x="788" y="77"/>
                      <a:pt x="805" y="80"/>
                      <a:pt x="817" y="85"/>
                    </a:cubicBezTo>
                    <a:cubicBezTo>
                      <a:pt x="820" y="87"/>
                      <a:pt x="823" y="89"/>
                      <a:pt x="823" y="92"/>
                    </a:cubicBezTo>
                    <a:cubicBezTo>
                      <a:pt x="823" y="96"/>
                      <a:pt x="819" y="99"/>
                      <a:pt x="815" y="99"/>
                    </a:cubicBezTo>
                    <a:cubicBezTo>
                      <a:pt x="803" y="99"/>
                      <a:pt x="788" y="91"/>
                      <a:pt x="788" y="91"/>
                    </a:cubicBezTo>
                    <a:lnTo>
                      <a:pt x="787" y="110"/>
                    </a:lnTo>
                    <a:cubicBezTo>
                      <a:pt x="787" y="110"/>
                      <a:pt x="800" y="116"/>
                      <a:pt x="814" y="116"/>
                    </a:cubicBezTo>
                    <a:cubicBezTo>
                      <a:pt x="829" y="116"/>
                      <a:pt x="843" y="108"/>
                      <a:pt x="843" y="91"/>
                    </a:cubicBezTo>
                    <a:close/>
                    <a:moveTo>
                      <a:pt x="749" y="94"/>
                    </a:moveTo>
                    <a:cubicBezTo>
                      <a:pt x="747" y="96"/>
                      <a:pt x="742" y="100"/>
                      <a:pt x="736" y="100"/>
                    </a:cubicBezTo>
                    <a:cubicBezTo>
                      <a:pt x="731" y="100"/>
                      <a:pt x="729" y="95"/>
                      <a:pt x="729" y="91"/>
                    </a:cubicBezTo>
                    <a:cubicBezTo>
                      <a:pt x="729" y="89"/>
                      <a:pt x="730" y="87"/>
                      <a:pt x="732" y="85"/>
                    </a:cubicBezTo>
                    <a:cubicBezTo>
                      <a:pt x="736" y="81"/>
                      <a:pt x="746" y="80"/>
                      <a:pt x="749" y="80"/>
                    </a:cubicBezTo>
                    <a:lnTo>
                      <a:pt x="749" y="94"/>
                    </a:lnTo>
                    <a:close/>
                    <a:moveTo>
                      <a:pt x="771" y="114"/>
                    </a:moveTo>
                    <a:cubicBezTo>
                      <a:pt x="771" y="114"/>
                      <a:pt x="770" y="107"/>
                      <a:pt x="770" y="98"/>
                    </a:cubicBezTo>
                    <a:lnTo>
                      <a:pt x="770" y="62"/>
                    </a:lnTo>
                    <a:cubicBezTo>
                      <a:pt x="770" y="54"/>
                      <a:pt x="769" y="48"/>
                      <a:pt x="765" y="43"/>
                    </a:cubicBezTo>
                    <a:cubicBezTo>
                      <a:pt x="761" y="39"/>
                      <a:pt x="755" y="36"/>
                      <a:pt x="745" y="36"/>
                    </a:cubicBezTo>
                    <a:cubicBezTo>
                      <a:pt x="729" y="36"/>
                      <a:pt x="714" y="43"/>
                      <a:pt x="714" y="43"/>
                    </a:cubicBezTo>
                    <a:lnTo>
                      <a:pt x="715" y="59"/>
                    </a:lnTo>
                    <a:cubicBezTo>
                      <a:pt x="720" y="56"/>
                      <a:pt x="731" y="52"/>
                      <a:pt x="741" y="52"/>
                    </a:cubicBezTo>
                    <a:cubicBezTo>
                      <a:pt x="747" y="52"/>
                      <a:pt x="749" y="55"/>
                      <a:pt x="749" y="61"/>
                    </a:cubicBezTo>
                    <a:lnTo>
                      <a:pt x="749" y="69"/>
                    </a:lnTo>
                    <a:cubicBezTo>
                      <a:pt x="740" y="69"/>
                      <a:pt x="725" y="70"/>
                      <a:pt x="716" y="77"/>
                    </a:cubicBezTo>
                    <a:cubicBezTo>
                      <a:pt x="711" y="81"/>
                      <a:pt x="709" y="85"/>
                      <a:pt x="709" y="92"/>
                    </a:cubicBezTo>
                    <a:cubicBezTo>
                      <a:pt x="709" y="102"/>
                      <a:pt x="714" y="115"/>
                      <a:pt x="730" y="115"/>
                    </a:cubicBezTo>
                    <a:cubicBezTo>
                      <a:pt x="741" y="115"/>
                      <a:pt x="751" y="107"/>
                      <a:pt x="751" y="107"/>
                    </a:cubicBezTo>
                    <a:cubicBezTo>
                      <a:pt x="751" y="110"/>
                      <a:pt x="751" y="114"/>
                      <a:pt x="751" y="114"/>
                    </a:cubicBezTo>
                    <a:lnTo>
                      <a:pt x="771" y="114"/>
                    </a:lnTo>
                    <a:close/>
                    <a:moveTo>
                      <a:pt x="701" y="12"/>
                    </a:moveTo>
                    <a:lnTo>
                      <a:pt x="679" y="11"/>
                    </a:lnTo>
                    <a:lnTo>
                      <a:pt x="667" y="61"/>
                    </a:lnTo>
                    <a:cubicBezTo>
                      <a:pt x="665" y="68"/>
                      <a:pt x="663" y="83"/>
                      <a:pt x="662" y="86"/>
                    </a:cubicBezTo>
                    <a:cubicBezTo>
                      <a:pt x="662" y="83"/>
                      <a:pt x="659" y="68"/>
                      <a:pt x="658" y="61"/>
                    </a:cubicBezTo>
                    <a:lnTo>
                      <a:pt x="646" y="11"/>
                    </a:lnTo>
                    <a:lnTo>
                      <a:pt x="624" y="11"/>
                    </a:lnTo>
                    <a:lnTo>
                      <a:pt x="613" y="61"/>
                    </a:lnTo>
                    <a:cubicBezTo>
                      <a:pt x="611" y="68"/>
                      <a:pt x="609" y="82"/>
                      <a:pt x="608" y="85"/>
                    </a:cubicBezTo>
                    <a:cubicBezTo>
                      <a:pt x="608" y="82"/>
                      <a:pt x="605" y="68"/>
                      <a:pt x="604" y="61"/>
                    </a:cubicBezTo>
                    <a:lnTo>
                      <a:pt x="592" y="10"/>
                    </a:lnTo>
                    <a:lnTo>
                      <a:pt x="570" y="11"/>
                    </a:lnTo>
                    <a:lnTo>
                      <a:pt x="597" y="114"/>
                    </a:lnTo>
                    <a:lnTo>
                      <a:pt x="619" y="114"/>
                    </a:lnTo>
                    <a:lnTo>
                      <a:pt x="630" y="67"/>
                    </a:lnTo>
                    <a:cubicBezTo>
                      <a:pt x="631" y="59"/>
                      <a:pt x="635" y="40"/>
                      <a:pt x="635" y="40"/>
                    </a:cubicBezTo>
                    <a:cubicBezTo>
                      <a:pt x="635" y="40"/>
                      <a:pt x="638" y="59"/>
                      <a:pt x="640" y="67"/>
                    </a:cubicBezTo>
                    <a:lnTo>
                      <a:pt x="650" y="114"/>
                    </a:lnTo>
                    <a:lnTo>
                      <a:pt x="673" y="114"/>
                    </a:lnTo>
                    <a:lnTo>
                      <a:pt x="701" y="12"/>
                    </a:lnTo>
                    <a:close/>
                    <a:moveTo>
                      <a:pt x="537" y="104"/>
                    </a:moveTo>
                    <a:cubicBezTo>
                      <a:pt x="537" y="98"/>
                      <a:pt x="533" y="92"/>
                      <a:pt x="525" y="92"/>
                    </a:cubicBezTo>
                    <a:cubicBezTo>
                      <a:pt x="516" y="92"/>
                      <a:pt x="512" y="98"/>
                      <a:pt x="512" y="104"/>
                    </a:cubicBezTo>
                    <a:cubicBezTo>
                      <a:pt x="512" y="110"/>
                      <a:pt x="516" y="116"/>
                      <a:pt x="525" y="116"/>
                    </a:cubicBezTo>
                    <a:cubicBezTo>
                      <a:pt x="533" y="116"/>
                      <a:pt x="537" y="110"/>
                      <a:pt x="537" y="104"/>
                    </a:cubicBezTo>
                    <a:close/>
                    <a:moveTo>
                      <a:pt x="476" y="68"/>
                    </a:moveTo>
                    <a:lnTo>
                      <a:pt x="452" y="68"/>
                    </a:lnTo>
                    <a:cubicBezTo>
                      <a:pt x="452" y="62"/>
                      <a:pt x="454" y="51"/>
                      <a:pt x="464" y="51"/>
                    </a:cubicBezTo>
                    <a:cubicBezTo>
                      <a:pt x="474" y="51"/>
                      <a:pt x="476" y="62"/>
                      <a:pt x="476" y="68"/>
                    </a:cubicBezTo>
                    <a:moveTo>
                      <a:pt x="496" y="74"/>
                    </a:moveTo>
                    <a:cubicBezTo>
                      <a:pt x="496" y="56"/>
                      <a:pt x="489" y="36"/>
                      <a:pt x="464" y="36"/>
                    </a:cubicBezTo>
                    <a:cubicBezTo>
                      <a:pt x="441" y="36"/>
                      <a:pt x="431" y="56"/>
                      <a:pt x="431" y="76"/>
                    </a:cubicBezTo>
                    <a:cubicBezTo>
                      <a:pt x="431" y="90"/>
                      <a:pt x="435" y="115"/>
                      <a:pt x="462" y="115"/>
                    </a:cubicBezTo>
                    <a:cubicBezTo>
                      <a:pt x="483" y="115"/>
                      <a:pt x="495" y="108"/>
                      <a:pt x="495" y="108"/>
                    </a:cubicBezTo>
                    <a:lnTo>
                      <a:pt x="494" y="92"/>
                    </a:lnTo>
                    <a:cubicBezTo>
                      <a:pt x="494" y="92"/>
                      <a:pt x="480" y="100"/>
                      <a:pt x="466" y="100"/>
                    </a:cubicBezTo>
                    <a:cubicBezTo>
                      <a:pt x="457" y="100"/>
                      <a:pt x="452" y="94"/>
                      <a:pt x="452" y="80"/>
                    </a:cubicBezTo>
                    <a:lnTo>
                      <a:pt x="496" y="80"/>
                    </a:lnTo>
                    <a:cubicBezTo>
                      <a:pt x="496" y="80"/>
                      <a:pt x="496" y="76"/>
                      <a:pt x="496" y="74"/>
                    </a:cubicBezTo>
                    <a:moveTo>
                      <a:pt x="413" y="114"/>
                    </a:moveTo>
                    <a:lnTo>
                      <a:pt x="413" y="54"/>
                    </a:lnTo>
                    <a:cubicBezTo>
                      <a:pt x="413" y="48"/>
                      <a:pt x="412" y="38"/>
                      <a:pt x="412" y="38"/>
                    </a:cubicBezTo>
                    <a:lnTo>
                      <a:pt x="393" y="38"/>
                    </a:lnTo>
                    <a:lnTo>
                      <a:pt x="393" y="114"/>
                    </a:lnTo>
                    <a:lnTo>
                      <a:pt x="413" y="114"/>
                    </a:lnTo>
                    <a:close/>
                    <a:moveTo>
                      <a:pt x="416" y="12"/>
                    </a:moveTo>
                    <a:cubicBezTo>
                      <a:pt x="416" y="6"/>
                      <a:pt x="411" y="0"/>
                      <a:pt x="403" y="0"/>
                    </a:cubicBezTo>
                    <a:cubicBezTo>
                      <a:pt x="395" y="0"/>
                      <a:pt x="391" y="6"/>
                      <a:pt x="391" y="12"/>
                    </a:cubicBezTo>
                    <a:cubicBezTo>
                      <a:pt x="391" y="18"/>
                      <a:pt x="395" y="24"/>
                      <a:pt x="403" y="24"/>
                    </a:cubicBezTo>
                    <a:cubicBezTo>
                      <a:pt x="411" y="24"/>
                      <a:pt x="416" y="18"/>
                      <a:pt x="416" y="12"/>
                    </a:cubicBezTo>
                    <a:close/>
                    <a:moveTo>
                      <a:pt x="353" y="88"/>
                    </a:moveTo>
                    <a:cubicBezTo>
                      <a:pt x="347" y="95"/>
                      <a:pt x="341" y="97"/>
                      <a:pt x="337" y="97"/>
                    </a:cubicBezTo>
                    <a:cubicBezTo>
                      <a:pt x="328" y="97"/>
                      <a:pt x="326" y="83"/>
                      <a:pt x="326" y="75"/>
                    </a:cubicBezTo>
                    <a:cubicBezTo>
                      <a:pt x="326" y="66"/>
                      <a:pt x="327" y="53"/>
                      <a:pt x="339" y="53"/>
                    </a:cubicBezTo>
                    <a:cubicBezTo>
                      <a:pt x="343" y="53"/>
                      <a:pt x="347" y="54"/>
                      <a:pt x="353" y="57"/>
                    </a:cubicBezTo>
                    <a:lnTo>
                      <a:pt x="353" y="88"/>
                    </a:lnTo>
                    <a:close/>
                    <a:moveTo>
                      <a:pt x="375" y="38"/>
                    </a:moveTo>
                    <a:lnTo>
                      <a:pt x="355" y="38"/>
                    </a:lnTo>
                    <a:cubicBezTo>
                      <a:pt x="355" y="38"/>
                      <a:pt x="354" y="40"/>
                      <a:pt x="354" y="42"/>
                    </a:cubicBezTo>
                    <a:cubicBezTo>
                      <a:pt x="352" y="41"/>
                      <a:pt x="345" y="36"/>
                      <a:pt x="336" y="36"/>
                    </a:cubicBezTo>
                    <a:cubicBezTo>
                      <a:pt x="315" y="36"/>
                      <a:pt x="305" y="53"/>
                      <a:pt x="305" y="75"/>
                    </a:cubicBezTo>
                    <a:cubicBezTo>
                      <a:pt x="305" y="90"/>
                      <a:pt x="310" y="114"/>
                      <a:pt x="332" y="114"/>
                    </a:cubicBezTo>
                    <a:cubicBezTo>
                      <a:pt x="344" y="114"/>
                      <a:pt x="352" y="105"/>
                      <a:pt x="353" y="103"/>
                    </a:cubicBezTo>
                    <a:cubicBezTo>
                      <a:pt x="353" y="103"/>
                      <a:pt x="353" y="108"/>
                      <a:pt x="353" y="110"/>
                    </a:cubicBezTo>
                    <a:lnTo>
                      <a:pt x="353" y="115"/>
                    </a:lnTo>
                    <a:cubicBezTo>
                      <a:pt x="353" y="117"/>
                      <a:pt x="353" y="119"/>
                      <a:pt x="352" y="121"/>
                    </a:cubicBezTo>
                    <a:cubicBezTo>
                      <a:pt x="351" y="125"/>
                      <a:pt x="347" y="128"/>
                      <a:pt x="338" y="128"/>
                    </a:cubicBezTo>
                    <a:cubicBezTo>
                      <a:pt x="323" y="128"/>
                      <a:pt x="310" y="122"/>
                      <a:pt x="310" y="122"/>
                    </a:cubicBezTo>
                    <a:lnTo>
                      <a:pt x="309" y="140"/>
                    </a:lnTo>
                    <a:cubicBezTo>
                      <a:pt x="309" y="140"/>
                      <a:pt x="320" y="146"/>
                      <a:pt x="338" y="146"/>
                    </a:cubicBezTo>
                    <a:cubicBezTo>
                      <a:pt x="357" y="146"/>
                      <a:pt x="369" y="139"/>
                      <a:pt x="373" y="125"/>
                    </a:cubicBezTo>
                    <a:cubicBezTo>
                      <a:pt x="373" y="122"/>
                      <a:pt x="373" y="116"/>
                      <a:pt x="373" y="112"/>
                    </a:cubicBezTo>
                    <a:lnTo>
                      <a:pt x="373" y="56"/>
                    </a:lnTo>
                    <a:cubicBezTo>
                      <a:pt x="373" y="47"/>
                      <a:pt x="375" y="38"/>
                      <a:pt x="375" y="38"/>
                    </a:cubicBezTo>
                    <a:moveTo>
                      <a:pt x="294" y="38"/>
                    </a:moveTo>
                    <a:cubicBezTo>
                      <a:pt x="294" y="38"/>
                      <a:pt x="293" y="37"/>
                      <a:pt x="285" y="37"/>
                    </a:cubicBezTo>
                    <a:cubicBezTo>
                      <a:pt x="279" y="37"/>
                      <a:pt x="273" y="42"/>
                      <a:pt x="270" y="45"/>
                    </a:cubicBezTo>
                    <a:cubicBezTo>
                      <a:pt x="270" y="46"/>
                      <a:pt x="269" y="47"/>
                      <a:pt x="269" y="47"/>
                    </a:cubicBezTo>
                    <a:cubicBezTo>
                      <a:pt x="269" y="43"/>
                      <a:pt x="268" y="38"/>
                      <a:pt x="268" y="38"/>
                    </a:cubicBezTo>
                    <a:lnTo>
                      <a:pt x="248" y="38"/>
                    </a:lnTo>
                    <a:cubicBezTo>
                      <a:pt x="248" y="38"/>
                      <a:pt x="249" y="47"/>
                      <a:pt x="249" y="56"/>
                    </a:cubicBezTo>
                    <a:lnTo>
                      <a:pt x="249" y="114"/>
                    </a:lnTo>
                    <a:lnTo>
                      <a:pt x="270" y="114"/>
                    </a:lnTo>
                    <a:lnTo>
                      <a:pt x="270" y="60"/>
                    </a:lnTo>
                    <a:cubicBezTo>
                      <a:pt x="275" y="56"/>
                      <a:pt x="279" y="53"/>
                      <a:pt x="282" y="53"/>
                    </a:cubicBezTo>
                    <a:cubicBezTo>
                      <a:pt x="288" y="53"/>
                      <a:pt x="292" y="54"/>
                      <a:pt x="292" y="54"/>
                    </a:cubicBezTo>
                    <a:lnTo>
                      <a:pt x="294" y="38"/>
                    </a:lnTo>
                    <a:close/>
                    <a:moveTo>
                      <a:pt x="211" y="68"/>
                    </a:moveTo>
                    <a:lnTo>
                      <a:pt x="187" y="68"/>
                    </a:lnTo>
                    <a:cubicBezTo>
                      <a:pt x="187" y="62"/>
                      <a:pt x="189" y="51"/>
                      <a:pt x="198" y="51"/>
                    </a:cubicBezTo>
                    <a:cubicBezTo>
                      <a:pt x="209" y="51"/>
                      <a:pt x="211" y="62"/>
                      <a:pt x="211" y="68"/>
                    </a:cubicBezTo>
                    <a:moveTo>
                      <a:pt x="231" y="74"/>
                    </a:moveTo>
                    <a:cubicBezTo>
                      <a:pt x="231" y="56"/>
                      <a:pt x="224" y="36"/>
                      <a:pt x="198" y="36"/>
                    </a:cubicBezTo>
                    <a:cubicBezTo>
                      <a:pt x="176" y="36"/>
                      <a:pt x="165" y="56"/>
                      <a:pt x="165" y="76"/>
                    </a:cubicBezTo>
                    <a:cubicBezTo>
                      <a:pt x="165" y="90"/>
                      <a:pt x="170" y="115"/>
                      <a:pt x="197" y="115"/>
                    </a:cubicBezTo>
                    <a:cubicBezTo>
                      <a:pt x="218" y="115"/>
                      <a:pt x="230" y="108"/>
                      <a:pt x="230" y="108"/>
                    </a:cubicBezTo>
                    <a:lnTo>
                      <a:pt x="229" y="92"/>
                    </a:lnTo>
                    <a:cubicBezTo>
                      <a:pt x="229" y="92"/>
                      <a:pt x="214" y="100"/>
                      <a:pt x="200" y="100"/>
                    </a:cubicBezTo>
                    <a:cubicBezTo>
                      <a:pt x="191" y="100"/>
                      <a:pt x="187" y="94"/>
                      <a:pt x="187" y="80"/>
                    </a:cubicBezTo>
                    <a:lnTo>
                      <a:pt x="231" y="80"/>
                    </a:lnTo>
                    <a:cubicBezTo>
                      <a:pt x="231" y="80"/>
                      <a:pt x="231" y="76"/>
                      <a:pt x="231" y="74"/>
                    </a:cubicBezTo>
                    <a:moveTo>
                      <a:pt x="148" y="114"/>
                    </a:moveTo>
                    <a:lnTo>
                      <a:pt x="148" y="62"/>
                    </a:lnTo>
                    <a:cubicBezTo>
                      <a:pt x="148" y="55"/>
                      <a:pt x="147" y="49"/>
                      <a:pt x="144" y="45"/>
                    </a:cubicBezTo>
                    <a:cubicBezTo>
                      <a:pt x="141" y="39"/>
                      <a:pt x="135" y="36"/>
                      <a:pt x="126" y="36"/>
                    </a:cubicBezTo>
                    <a:cubicBezTo>
                      <a:pt x="115" y="36"/>
                      <a:pt x="104" y="45"/>
                      <a:pt x="101" y="48"/>
                    </a:cubicBezTo>
                    <a:cubicBezTo>
                      <a:pt x="101" y="43"/>
                      <a:pt x="101" y="38"/>
                      <a:pt x="101" y="38"/>
                    </a:cubicBezTo>
                    <a:lnTo>
                      <a:pt x="81" y="38"/>
                    </a:lnTo>
                    <a:cubicBezTo>
                      <a:pt x="81" y="38"/>
                      <a:pt x="82" y="47"/>
                      <a:pt x="82" y="56"/>
                    </a:cubicBezTo>
                    <a:lnTo>
                      <a:pt x="82" y="114"/>
                    </a:lnTo>
                    <a:lnTo>
                      <a:pt x="102" y="114"/>
                    </a:lnTo>
                    <a:lnTo>
                      <a:pt x="102" y="62"/>
                    </a:lnTo>
                    <a:cubicBezTo>
                      <a:pt x="105" y="59"/>
                      <a:pt x="112" y="54"/>
                      <a:pt x="119" y="54"/>
                    </a:cubicBezTo>
                    <a:cubicBezTo>
                      <a:pt x="124" y="54"/>
                      <a:pt x="128" y="55"/>
                      <a:pt x="128" y="64"/>
                    </a:cubicBezTo>
                    <a:lnTo>
                      <a:pt x="128" y="114"/>
                    </a:lnTo>
                    <a:lnTo>
                      <a:pt x="148" y="114"/>
                    </a:lnTo>
                    <a:close/>
                    <a:moveTo>
                      <a:pt x="66" y="114"/>
                    </a:moveTo>
                    <a:lnTo>
                      <a:pt x="66" y="96"/>
                    </a:lnTo>
                    <a:lnTo>
                      <a:pt x="21" y="96"/>
                    </a:lnTo>
                    <a:lnTo>
                      <a:pt x="21" y="69"/>
                    </a:lnTo>
                    <a:lnTo>
                      <a:pt x="57" y="69"/>
                    </a:lnTo>
                    <a:lnTo>
                      <a:pt x="57" y="52"/>
                    </a:lnTo>
                    <a:lnTo>
                      <a:pt x="21" y="52"/>
                    </a:lnTo>
                    <a:lnTo>
                      <a:pt x="21" y="29"/>
                    </a:lnTo>
                    <a:lnTo>
                      <a:pt x="62" y="29"/>
                    </a:lnTo>
                    <a:lnTo>
                      <a:pt x="64" y="11"/>
                    </a:lnTo>
                    <a:lnTo>
                      <a:pt x="0" y="11"/>
                    </a:lnTo>
                    <a:lnTo>
                      <a:pt x="0" y="114"/>
                    </a:lnTo>
                    <a:lnTo>
                      <a:pt x="66" y="1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" name="Freeform 39">
                <a:extLst>
                  <a:ext uri="{FF2B5EF4-FFF2-40B4-BE49-F238E27FC236}">
                    <a16:creationId xmlns:a16="http://schemas.microsoft.com/office/drawing/2014/main" id="{00F058F1-69EE-4BBD-8ADE-11F9C49B3E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29374" y="990263"/>
                <a:ext cx="354012" cy="273050"/>
              </a:xfrm>
              <a:custGeom>
                <a:avLst/>
                <a:gdLst>
                  <a:gd name="T0" fmla="*/ 0 w 443"/>
                  <a:gd name="T1" fmla="*/ 0 h 341"/>
                  <a:gd name="T2" fmla="*/ 0 w 443"/>
                  <a:gd name="T3" fmla="*/ 217 h 341"/>
                  <a:gd name="T4" fmla="*/ 131 w 443"/>
                  <a:gd name="T5" fmla="*/ 341 h 341"/>
                  <a:gd name="T6" fmla="*/ 222 w 443"/>
                  <a:gd name="T7" fmla="*/ 300 h 341"/>
                  <a:gd name="T8" fmla="*/ 313 w 443"/>
                  <a:gd name="T9" fmla="*/ 341 h 341"/>
                  <a:gd name="T10" fmla="*/ 443 w 443"/>
                  <a:gd name="T11" fmla="*/ 217 h 341"/>
                  <a:gd name="T12" fmla="*/ 443 w 443"/>
                  <a:gd name="T13" fmla="*/ 0 h 341"/>
                  <a:gd name="T14" fmla="*/ 365 w 443"/>
                  <a:gd name="T15" fmla="*/ 0 h 341"/>
                  <a:gd name="T16" fmla="*/ 365 w 443"/>
                  <a:gd name="T17" fmla="*/ 219 h 341"/>
                  <a:gd name="T18" fmla="*/ 313 w 443"/>
                  <a:gd name="T19" fmla="*/ 268 h 341"/>
                  <a:gd name="T20" fmla="*/ 261 w 443"/>
                  <a:gd name="T21" fmla="*/ 219 h 341"/>
                  <a:gd name="T22" fmla="*/ 261 w 443"/>
                  <a:gd name="T23" fmla="*/ 0 h 341"/>
                  <a:gd name="T24" fmla="*/ 183 w 443"/>
                  <a:gd name="T25" fmla="*/ 0 h 341"/>
                  <a:gd name="T26" fmla="*/ 183 w 443"/>
                  <a:gd name="T27" fmla="*/ 219 h 341"/>
                  <a:gd name="T28" fmla="*/ 131 w 443"/>
                  <a:gd name="T29" fmla="*/ 268 h 341"/>
                  <a:gd name="T30" fmla="*/ 79 w 443"/>
                  <a:gd name="T31" fmla="*/ 219 h 341"/>
                  <a:gd name="T32" fmla="*/ 79 w 443"/>
                  <a:gd name="T33" fmla="*/ 0 h 341"/>
                  <a:gd name="T34" fmla="*/ 0 w 443"/>
                  <a:gd name="T35" fmla="*/ 0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3" h="341">
                    <a:moveTo>
                      <a:pt x="0" y="0"/>
                    </a:moveTo>
                    <a:lnTo>
                      <a:pt x="0" y="217"/>
                    </a:lnTo>
                    <a:cubicBezTo>
                      <a:pt x="0" y="285"/>
                      <a:pt x="59" y="341"/>
                      <a:pt x="131" y="341"/>
                    </a:cubicBezTo>
                    <a:cubicBezTo>
                      <a:pt x="165" y="341"/>
                      <a:pt x="205" y="322"/>
                      <a:pt x="222" y="300"/>
                    </a:cubicBezTo>
                    <a:cubicBezTo>
                      <a:pt x="239" y="322"/>
                      <a:pt x="279" y="341"/>
                      <a:pt x="313" y="341"/>
                    </a:cubicBezTo>
                    <a:cubicBezTo>
                      <a:pt x="385" y="341"/>
                      <a:pt x="443" y="285"/>
                      <a:pt x="443" y="217"/>
                    </a:cubicBezTo>
                    <a:lnTo>
                      <a:pt x="443" y="0"/>
                    </a:lnTo>
                    <a:lnTo>
                      <a:pt x="365" y="0"/>
                    </a:lnTo>
                    <a:lnTo>
                      <a:pt x="365" y="219"/>
                    </a:lnTo>
                    <a:cubicBezTo>
                      <a:pt x="365" y="246"/>
                      <a:pt x="342" y="268"/>
                      <a:pt x="313" y="268"/>
                    </a:cubicBezTo>
                    <a:cubicBezTo>
                      <a:pt x="285" y="268"/>
                      <a:pt x="261" y="246"/>
                      <a:pt x="261" y="219"/>
                    </a:cubicBezTo>
                    <a:lnTo>
                      <a:pt x="261" y="0"/>
                    </a:lnTo>
                    <a:lnTo>
                      <a:pt x="183" y="0"/>
                    </a:lnTo>
                    <a:lnTo>
                      <a:pt x="183" y="219"/>
                    </a:lnTo>
                    <a:cubicBezTo>
                      <a:pt x="183" y="246"/>
                      <a:pt x="159" y="268"/>
                      <a:pt x="131" y="268"/>
                    </a:cubicBezTo>
                    <a:cubicBezTo>
                      <a:pt x="102" y="268"/>
                      <a:pt x="79" y="246"/>
                      <a:pt x="79" y="219"/>
                    </a:cubicBez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" name="Freeform 40">
                <a:extLst>
                  <a:ext uri="{FF2B5EF4-FFF2-40B4-BE49-F238E27FC236}">
                    <a16:creationId xmlns:a16="http://schemas.microsoft.com/office/drawing/2014/main" id="{E434CE9D-1FE1-41C8-844C-417651D96A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30924" y="982325"/>
                <a:ext cx="276225" cy="277813"/>
              </a:xfrm>
              <a:custGeom>
                <a:avLst/>
                <a:gdLst>
                  <a:gd name="T0" fmla="*/ 345 w 347"/>
                  <a:gd name="T1" fmla="*/ 199 h 348"/>
                  <a:gd name="T2" fmla="*/ 347 w 347"/>
                  <a:gd name="T3" fmla="*/ 174 h 348"/>
                  <a:gd name="T4" fmla="*/ 174 w 347"/>
                  <a:gd name="T5" fmla="*/ 0 h 348"/>
                  <a:gd name="T6" fmla="*/ 0 w 347"/>
                  <a:gd name="T7" fmla="*/ 174 h 348"/>
                  <a:gd name="T8" fmla="*/ 174 w 347"/>
                  <a:gd name="T9" fmla="*/ 348 h 348"/>
                  <a:gd name="T10" fmla="*/ 336 w 347"/>
                  <a:gd name="T11" fmla="*/ 237 h 348"/>
                  <a:gd name="T12" fmla="*/ 254 w 347"/>
                  <a:gd name="T13" fmla="*/ 237 h 348"/>
                  <a:gd name="T14" fmla="*/ 174 w 347"/>
                  <a:gd name="T15" fmla="*/ 276 h 348"/>
                  <a:gd name="T16" fmla="*/ 71 w 347"/>
                  <a:gd name="T17" fmla="*/ 174 h 348"/>
                  <a:gd name="T18" fmla="*/ 174 w 347"/>
                  <a:gd name="T19" fmla="*/ 71 h 348"/>
                  <a:gd name="T20" fmla="*/ 265 w 347"/>
                  <a:gd name="T21" fmla="*/ 128 h 348"/>
                  <a:gd name="T22" fmla="*/ 141 w 347"/>
                  <a:gd name="T23" fmla="*/ 128 h 348"/>
                  <a:gd name="T24" fmla="*/ 141 w 347"/>
                  <a:gd name="T25" fmla="*/ 199 h 348"/>
                  <a:gd name="T26" fmla="*/ 345 w 347"/>
                  <a:gd name="T27" fmla="*/ 199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7" h="348">
                    <a:moveTo>
                      <a:pt x="345" y="199"/>
                    </a:moveTo>
                    <a:cubicBezTo>
                      <a:pt x="347" y="191"/>
                      <a:pt x="347" y="183"/>
                      <a:pt x="347" y="174"/>
                    </a:cubicBezTo>
                    <a:cubicBezTo>
                      <a:pt x="347" y="78"/>
                      <a:pt x="270" y="0"/>
                      <a:pt x="174" y="0"/>
                    </a:cubicBezTo>
                    <a:cubicBezTo>
                      <a:pt x="78" y="0"/>
                      <a:pt x="0" y="78"/>
                      <a:pt x="0" y="174"/>
                    </a:cubicBezTo>
                    <a:cubicBezTo>
                      <a:pt x="0" y="270"/>
                      <a:pt x="78" y="348"/>
                      <a:pt x="174" y="348"/>
                    </a:cubicBezTo>
                    <a:cubicBezTo>
                      <a:pt x="248" y="348"/>
                      <a:pt x="310" y="301"/>
                      <a:pt x="336" y="237"/>
                    </a:cubicBezTo>
                    <a:lnTo>
                      <a:pt x="254" y="237"/>
                    </a:lnTo>
                    <a:cubicBezTo>
                      <a:pt x="235" y="260"/>
                      <a:pt x="206" y="276"/>
                      <a:pt x="174" y="276"/>
                    </a:cubicBezTo>
                    <a:cubicBezTo>
                      <a:pt x="117" y="276"/>
                      <a:pt x="71" y="230"/>
                      <a:pt x="71" y="174"/>
                    </a:cubicBezTo>
                    <a:cubicBezTo>
                      <a:pt x="71" y="117"/>
                      <a:pt x="117" y="71"/>
                      <a:pt x="174" y="71"/>
                    </a:cubicBezTo>
                    <a:cubicBezTo>
                      <a:pt x="214" y="71"/>
                      <a:pt x="248" y="95"/>
                      <a:pt x="265" y="128"/>
                    </a:cubicBezTo>
                    <a:lnTo>
                      <a:pt x="141" y="128"/>
                    </a:lnTo>
                    <a:lnTo>
                      <a:pt x="141" y="199"/>
                    </a:lnTo>
                    <a:lnTo>
                      <a:pt x="345" y="19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" name="Freeform 41">
                <a:extLst>
                  <a:ext uri="{FF2B5EF4-FFF2-40B4-BE49-F238E27FC236}">
                    <a16:creationId xmlns:a16="http://schemas.microsoft.com/office/drawing/2014/main" id="{BBB5E07F-A6F4-4315-AD65-C9C277A678F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34061" y="868025"/>
                <a:ext cx="276225" cy="395288"/>
              </a:xfrm>
              <a:custGeom>
                <a:avLst/>
                <a:gdLst>
                  <a:gd name="T0" fmla="*/ 273 w 347"/>
                  <a:gd name="T1" fmla="*/ 0 h 496"/>
                  <a:gd name="T2" fmla="*/ 273 w 347"/>
                  <a:gd name="T3" fmla="*/ 184 h 496"/>
                  <a:gd name="T4" fmla="*/ 173 w 347"/>
                  <a:gd name="T5" fmla="*/ 150 h 496"/>
                  <a:gd name="T6" fmla="*/ 0 w 347"/>
                  <a:gd name="T7" fmla="*/ 323 h 496"/>
                  <a:gd name="T8" fmla="*/ 173 w 347"/>
                  <a:gd name="T9" fmla="*/ 496 h 496"/>
                  <a:gd name="T10" fmla="*/ 273 w 347"/>
                  <a:gd name="T11" fmla="*/ 463 h 496"/>
                  <a:gd name="T12" fmla="*/ 273 w 347"/>
                  <a:gd name="T13" fmla="*/ 492 h 496"/>
                  <a:gd name="T14" fmla="*/ 347 w 347"/>
                  <a:gd name="T15" fmla="*/ 492 h 496"/>
                  <a:gd name="T16" fmla="*/ 347 w 347"/>
                  <a:gd name="T17" fmla="*/ 0 h 496"/>
                  <a:gd name="T18" fmla="*/ 273 w 347"/>
                  <a:gd name="T19" fmla="*/ 0 h 496"/>
                  <a:gd name="T20" fmla="*/ 196 w 347"/>
                  <a:gd name="T21" fmla="*/ 421 h 496"/>
                  <a:gd name="T22" fmla="*/ 173 w 347"/>
                  <a:gd name="T23" fmla="*/ 425 h 496"/>
                  <a:gd name="T24" fmla="*/ 134 w 347"/>
                  <a:gd name="T25" fmla="*/ 416 h 496"/>
                  <a:gd name="T26" fmla="*/ 71 w 347"/>
                  <a:gd name="T27" fmla="*/ 321 h 496"/>
                  <a:gd name="T28" fmla="*/ 173 w 347"/>
                  <a:gd name="T29" fmla="*/ 219 h 496"/>
                  <a:gd name="T30" fmla="*/ 276 w 347"/>
                  <a:gd name="T31" fmla="*/ 321 h 496"/>
                  <a:gd name="T32" fmla="*/ 196 w 347"/>
                  <a:gd name="T33" fmla="*/ 421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7" h="496">
                    <a:moveTo>
                      <a:pt x="273" y="0"/>
                    </a:moveTo>
                    <a:lnTo>
                      <a:pt x="273" y="184"/>
                    </a:lnTo>
                    <a:cubicBezTo>
                      <a:pt x="245" y="163"/>
                      <a:pt x="211" y="150"/>
                      <a:pt x="173" y="150"/>
                    </a:cubicBezTo>
                    <a:cubicBezTo>
                      <a:pt x="77" y="150"/>
                      <a:pt x="0" y="227"/>
                      <a:pt x="0" y="323"/>
                    </a:cubicBezTo>
                    <a:cubicBezTo>
                      <a:pt x="0" y="418"/>
                      <a:pt x="77" y="496"/>
                      <a:pt x="173" y="496"/>
                    </a:cubicBezTo>
                    <a:cubicBezTo>
                      <a:pt x="211" y="496"/>
                      <a:pt x="245" y="484"/>
                      <a:pt x="273" y="463"/>
                    </a:cubicBezTo>
                    <a:lnTo>
                      <a:pt x="273" y="492"/>
                    </a:lnTo>
                    <a:lnTo>
                      <a:pt x="347" y="492"/>
                    </a:lnTo>
                    <a:lnTo>
                      <a:pt x="347" y="0"/>
                    </a:lnTo>
                    <a:lnTo>
                      <a:pt x="273" y="0"/>
                    </a:lnTo>
                    <a:close/>
                    <a:moveTo>
                      <a:pt x="196" y="421"/>
                    </a:moveTo>
                    <a:cubicBezTo>
                      <a:pt x="189" y="423"/>
                      <a:pt x="181" y="425"/>
                      <a:pt x="173" y="425"/>
                    </a:cubicBezTo>
                    <a:cubicBezTo>
                      <a:pt x="159" y="425"/>
                      <a:pt x="146" y="421"/>
                      <a:pt x="134" y="416"/>
                    </a:cubicBezTo>
                    <a:cubicBezTo>
                      <a:pt x="97" y="401"/>
                      <a:pt x="71" y="364"/>
                      <a:pt x="71" y="321"/>
                    </a:cubicBezTo>
                    <a:cubicBezTo>
                      <a:pt x="71" y="265"/>
                      <a:pt x="117" y="219"/>
                      <a:pt x="173" y="219"/>
                    </a:cubicBezTo>
                    <a:cubicBezTo>
                      <a:pt x="230" y="219"/>
                      <a:pt x="276" y="265"/>
                      <a:pt x="276" y="321"/>
                    </a:cubicBezTo>
                    <a:cubicBezTo>
                      <a:pt x="276" y="370"/>
                      <a:pt x="242" y="411"/>
                      <a:pt x="196" y="42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" name="Freeform 42">
                <a:extLst>
                  <a:ext uri="{FF2B5EF4-FFF2-40B4-BE49-F238E27FC236}">
                    <a16:creationId xmlns:a16="http://schemas.microsoft.com/office/drawing/2014/main" id="{9AF2ED87-6699-4980-BBB8-7F6D1D4D718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868025"/>
                <a:ext cx="277812" cy="395288"/>
              </a:xfrm>
              <a:custGeom>
                <a:avLst/>
                <a:gdLst>
                  <a:gd name="T0" fmla="*/ 175 w 348"/>
                  <a:gd name="T1" fmla="*/ 150 h 496"/>
                  <a:gd name="T2" fmla="*/ 75 w 348"/>
                  <a:gd name="T3" fmla="*/ 184 h 496"/>
                  <a:gd name="T4" fmla="*/ 75 w 348"/>
                  <a:gd name="T5" fmla="*/ 0 h 496"/>
                  <a:gd name="T6" fmla="*/ 0 w 348"/>
                  <a:gd name="T7" fmla="*/ 0 h 496"/>
                  <a:gd name="T8" fmla="*/ 0 w 348"/>
                  <a:gd name="T9" fmla="*/ 492 h 496"/>
                  <a:gd name="T10" fmla="*/ 75 w 348"/>
                  <a:gd name="T11" fmla="*/ 492 h 496"/>
                  <a:gd name="T12" fmla="*/ 75 w 348"/>
                  <a:gd name="T13" fmla="*/ 463 h 496"/>
                  <a:gd name="T14" fmla="*/ 175 w 348"/>
                  <a:gd name="T15" fmla="*/ 496 h 496"/>
                  <a:gd name="T16" fmla="*/ 348 w 348"/>
                  <a:gd name="T17" fmla="*/ 323 h 496"/>
                  <a:gd name="T18" fmla="*/ 175 w 348"/>
                  <a:gd name="T19" fmla="*/ 150 h 496"/>
                  <a:gd name="T20" fmla="*/ 214 w 348"/>
                  <a:gd name="T21" fmla="*/ 416 h 496"/>
                  <a:gd name="T22" fmla="*/ 175 w 348"/>
                  <a:gd name="T23" fmla="*/ 425 h 496"/>
                  <a:gd name="T24" fmla="*/ 152 w 348"/>
                  <a:gd name="T25" fmla="*/ 421 h 496"/>
                  <a:gd name="T26" fmla="*/ 72 w 348"/>
                  <a:gd name="T27" fmla="*/ 321 h 496"/>
                  <a:gd name="T28" fmla="*/ 175 w 348"/>
                  <a:gd name="T29" fmla="*/ 219 h 496"/>
                  <a:gd name="T30" fmla="*/ 277 w 348"/>
                  <a:gd name="T31" fmla="*/ 321 h 496"/>
                  <a:gd name="T32" fmla="*/ 214 w 348"/>
                  <a:gd name="T33" fmla="*/ 41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8" h="496">
                    <a:moveTo>
                      <a:pt x="175" y="150"/>
                    </a:moveTo>
                    <a:cubicBezTo>
                      <a:pt x="137" y="150"/>
                      <a:pt x="103" y="163"/>
                      <a:pt x="75" y="184"/>
                    </a:cubicBezTo>
                    <a:lnTo>
                      <a:pt x="75" y="0"/>
                    </a:lnTo>
                    <a:lnTo>
                      <a:pt x="0" y="0"/>
                    </a:lnTo>
                    <a:lnTo>
                      <a:pt x="0" y="492"/>
                    </a:lnTo>
                    <a:lnTo>
                      <a:pt x="75" y="492"/>
                    </a:lnTo>
                    <a:lnTo>
                      <a:pt x="75" y="463"/>
                    </a:lnTo>
                    <a:cubicBezTo>
                      <a:pt x="103" y="484"/>
                      <a:pt x="137" y="496"/>
                      <a:pt x="175" y="496"/>
                    </a:cubicBezTo>
                    <a:cubicBezTo>
                      <a:pt x="271" y="496"/>
                      <a:pt x="348" y="418"/>
                      <a:pt x="348" y="323"/>
                    </a:cubicBezTo>
                    <a:cubicBezTo>
                      <a:pt x="348" y="227"/>
                      <a:pt x="271" y="150"/>
                      <a:pt x="175" y="150"/>
                    </a:cubicBezTo>
                    <a:close/>
                    <a:moveTo>
                      <a:pt x="214" y="416"/>
                    </a:moveTo>
                    <a:cubicBezTo>
                      <a:pt x="202" y="421"/>
                      <a:pt x="189" y="425"/>
                      <a:pt x="175" y="425"/>
                    </a:cubicBezTo>
                    <a:cubicBezTo>
                      <a:pt x="167" y="425"/>
                      <a:pt x="159" y="423"/>
                      <a:pt x="152" y="421"/>
                    </a:cubicBezTo>
                    <a:cubicBezTo>
                      <a:pt x="106" y="411"/>
                      <a:pt x="72" y="370"/>
                      <a:pt x="72" y="321"/>
                    </a:cubicBezTo>
                    <a:cubicBezTo>
                      <a:pt x="72" y="265"/>
                      <a:pt x="118" y="219"/>
                      <a:pt x="175" y="219"/>
                    </a:cubicBezTo>
                    <a:cubicBezTo>
                      <a:pt x="231" y="219"/>
                      <a:pt x="277" y="265"/>
                      <a:pt x="277" y="321"/>
                    </a:cubicBezTo>
                    <a:cubicBezTo>
                      <a:pt x="277" y="364"/>
                      <a:pt x="251" y="401"/>
                      <a:pt x="214" y="4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18" name="Datumsplatzhalter 1">
            <a:extLst>
              <a:ext uri="{FF2B5EF4-FFF2-40B4-BE49-F238E27FC236}">
                <a16:creationId xmlns:a16="http://schemas.microsoft.com/office/drawing/2014/main" id="{43DD7F9F-2855-4830-A373-AF49F7C61D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1255" y="4680619"/>
            <a:ext cx="504000" cy="144000"/>
          </a:xfrm>
        </p:spPr>
        <p:txBody>
          <a:bodyPr/>
          <a:lstStyle/>
          <a:p>
            <a:fld id="{DD50C5DB-6DB1-4A49-93B2-92F0D7B354BC}" type="datetime1">
              <a:rPr lang="de-DE" smtClean="0"/>
              <a:t>24.11.2022</a:t>
            </a:fld>
            <a:endParaRPr lang="en-US"/>
          </a:p>
        </p:txBody>
      </p:sp>
      <p:sp>
        <p:nvSpPr>
          <p:cNvPr id="19" name="Fußzeilenplatzhalter 2">
            <a:extLst>
              <a:ext uri="{FF2B5EF4-FFF2-40B4-BE49-F238E27FC236}">
                <a16:creationId xmlns:a16="http://schemas.microsoft.com/office/drawing/2014/main" id="{FE266F2A-28EC-48BD-BC96-7219E0BAB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9951" y="4680619"/>
            <a:ext cx="5184000" cy="144000"/>
          </a:xfrm>
        </p:spPr>
        <p:txBody>
          <a:bodyPr lIns="0"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E849CC5B-DAB4-4C3E-A247-3DA19D3A26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23367" y="4680635"/>
            <a:ext cx="216000" cy="144000"/>
          </a:xfrm>
        </p:spPr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  <p:sp>
        <p:nvSpPr>
          <p:cNvPr id="21" name="Textplatzhalter 24">
            <a:extLst>
              <a:ext uri="{FF2B5EF4-FFF2-40B4-BE49-F238E27FC236}">
                <a16:creationId xmlns:a16="http://schemas.microsoft.com/office/drawing/2014/main" id="{E66F64E5-8C6D-46DC-91CA-9F9919F7293C}"/>
              </a:ext>
            </a:extLst>
          </p:cNvPr>
          <p:cNvSpPr txBox="1">
            <a:spLocks/>
          </p:cNvSpPr>
          <p:nvPr/>
        </p:nvSpPr>
        <p:spPr>
          <a:xfrm>
            <a:off x="431255" y="3890416"/>
            <a:ext cx="6480000" cy="576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de-DE" sz="1600" b="1" dirty="0"/>
              <a:t>BDEW Bundesverband der Energie- und Wasserwirtschaft e.V.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600" dirty="0"/>
              <a:t>Reinhardtstraße 32 · 10117 Berlin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65B0DE1-C91A-4A7F-BB4F-FCFEEFCE8496}"/>
              </a:ext>
            </a:extLst>
          </p:cNvPr>
          <p:cNvSpPr txBox="1"/>
          <p:nvPr/>
        </p:nvSpPr>
        <p:spPr>
          <a:xfrm>
            <a:off x="1022968" y="4680635"/>
            <a:ext cx="200375" cy="144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indent="0" algn="r">
              <a:spcAft>
                <a:spcPts val="1000"/>
              </a:spcAft>
              <a:buClr>
                <a:schemeClr val="accent1"/>
              </a:buClr>
              <a:buFont typeface="Calibri" panose="020F0502020204030204" pitchFamily="34" charset="0"/>
              <a:buNone/>
            </a:pPr>
            <a:r>
              <a:rPr lang="de-DE" sz="800" dirty="0">
                <a:solidFill>
                  <a:schemeClr val="accent3"/>
                </a:solidFill>
              </a:rPr>
              <a:t>Foli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AC1951E-B13C-448C-B9FF-CE5D407BB1A7}"/>
              </a:ext>
            </a:extLst>
          </p:cNvPr>
          <p:cNvSpPr txBox="1"/>
          <p:nvPr/>
        </p:nvSpPr>
        <p:spPr>
          <a:xfrm>
            <a:off x="431040" y="868025"/>
            <a:ext cx="6176099" cy="646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defTabSz="691157">
              <a:lnSpc>
                <a:spcPct val="90000"/>
              </a:lnSpc>
              <a:spcBef>
                <a:spcPct val="0"/>
              </a:spcBef>
              <a:buNone/>
              <a:defRPr sz="26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Vielen Dank für Ihre Aufmerksamkeit!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56B10FB1-6D8F-42BA-B53C-709B1D99F3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87439" y="2880419"/>
            <a:ext cx="4519700" cy="216000"/>
          </a:xfrm>
        </p:spPr>
        <p:txBody>
          <a:bodyPr lIns="0" tIns="0" rIns="0" bIns="0"/>
          <a:lstStyle>
            <a:lvl1pPr marL="0" indent="0">
              <a:buNone/>
              <a:defRPr lang="de-DE" sz="1600" b="0" dirty="0" smtClean="0"/>
            </a:lvl1pPr>
          </a:lstStyle>
          <a:p>
            <a:pPr marL="360000" lvl="0" indent="-360000"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Pct val="100000"/>
            </a:pPr>
            <a:r>
              <a:rPr lang="de-DE"/>
              <a:t>Mastertextformat bearbeiten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BC36029-6541-415E-9317-378C674F76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3097213"/>
            <a:ext cx="6191535" cy="216000"/>
          </a:xfrm>
        </p:spPr>
        <p:txBody>
          <a:bodyPr/>
          <a:lstStyle>
            <a:lvl1pPr marL="0" indent="0">
              <a:buNone/>
              <a:tabLst>
                <a:tab pos="2333625" algn="l"/>
              </a:tabLst>
              <a:defRPr sz="1600"/>
            </a:lvl1pPr>
          </a:lstStyle>
          <a:p>
            <a:pPr lvl="0"/>
            <a:r>
              <a:rPr lang="de-DE" dirty="0"/>
              <a:t>Optional Mobilnummer: M 	+49 170 1234567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F90F4C6-61C6-4E68-8F42-B7E23F08BB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1800225"/>
            <a:ext cx="6192838" cy="1006475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0"/>
            </a:lvl1pPr>
          </a:lstStyle>
          <a:p>
            <a:pPr lvl="0"/>
            <a:r>
              <a:rPr lang="de-DE" dirty="0"/>
              <a:t>Persönliche Angaben: Vorname Name</a:t>
            </a:r>
            <a:br>
              <a:rPr lang="de-DE" dirty="0"/>
            </a:br>
            <a:r>
              <a:rPr lang="de-DE" dirty="0"/>
              <a:t>Funktion</a:t>
            </a:r>
            <a:br>
              <a:rPr lang="de-DE" dirty="0"/>
            </a:br>
            <a:r>
              <a:rPr lang="de-DE" dirty="0"/>
              <a:t>Organisationseinheit</a:t>
            </a:r>
            <a:br>
              <a:rPr lang="de-DE" dirty="0"/>
            </a:br>
            <a:r>
              <a:rPr lang="de-DE" dirty="0" err="1"/>
              <a:t>Organisationseinheit</a:t>
            </a:r>
            <a:r>
              <a:rPr lang="de-DE" dirty="0"/>
              <a:t> zweite Zeile</a:t>
            </a:r>
          </a:p>
          <a:p>
            <a:pPr lvl="0"/>
            <a:endParaRPr lang="de-DE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23750F27-A832-4E35-9F03-7599561BF3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3312467"/>
            <a:ext cx="6192838" cy="216000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magdalena.muster@bdew.de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F21F5092-6C26-4E95-A433-39CA35D513F3}"/>
              </a:ext>
            </a:extLst>
          </p:cNvPr>
          <p:cNvGrpSpPr/>
          <p:nvPr userDrawn="1"/>
        </p:nvGrpSpPr>
        <p:grpSpPr>
          <a:xfrm>
            <a:off x="7266230" y="1944379"/>
            <a:ext cx="1799182" cy="576000"/>
            <a:chOff x="5014368" y="1905816"/>
            <a:chExt cx="1799182" cy="553594"/>
          </a:xfrm>
        </p:grpSpPr>
        <p:sp>
          <p:nvSpPr>
            <p:cNvPr id="27" name="Rectangle 64">
              <a:extLst>
                <a:ext uri="{FF2B5EF4-FFF2-40B4-BE49-F238E27FC236}">
                  <a16:creationId xmlns:a16="http://schemas.microsoft.com/office/drawing/2014/main" id="{2473F9AB-3796-41CA-866C-6FD9DF1659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4368" y="1905816"/>
              <a:ext cx="1799182" cy="55359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65">
              <a:extLst>
                <a:ext uri="{FF2B5EF4-FFF2-40B4-BE49-F238E27FC236}">
                  <a16:creationId xmlns:a16="http://schemas.microsoft.com/office/drawing/2014/main" id="{F7A244FF-ACEE-4E50-845D-29933CA9E7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2756" y="2056941"/>
              <a:ext cx="1126278" cy="92266"/>
            </a:xfrm>
            <a:custGeom>
              <a:avLst/>
              <a:gdLst>
                <a:gd name="T0" fmla="*/ 1371 w 1412"/>
                <a:gd name="T1" fmla="*/ 50 h 116"/>
                <a:gd name="T2" fmla="*/ 1327 w 1412"/>
                <a:gd name="T3" fmla="*/ 28 h 116"/>
                <a:gd name="T4" fmla="*/ 1355 w 1412"/>
                <a:gd name="T5" fmla="*/ 14 h 116"/>
                <a:gd name="T6" fmla="*/ 1409 w 1412"/>
                <a:gd name="T7" fmla="*/ 50 h 116"/>
                <a:gd name="T8" fmla="*/ 1259 w 1412"/>
                <a:gd name="T9" fmla="*/ 99 h 116"/>
                <a:gd name="T10" fmla="*/ 1256 w 1412"/>
                <a:gd name="T11" fmla="*/ 91 h 116"/>
                <a:gd name="T12" fmla="*/ 1258 w 1412"/>
                <a:gd name="T13" fmla="*/ 51 h 116"/>
                <a:gd name="T14" fmla="*/ 1287 w 1412"/>
                <a:gd name="T15" fmla="*/ 114 h 116"/>
                <a:gd name="T16" fmla="*/ 1171 w 1412"/>
                <a:gd name="T17" fmla="*/ 2 h 116"/>
                <a:gd name="T18" fmla="*/ 1201 w 1412"/>
                <a:gd name="T19" fmla="*/ 114 h 116"/>
                <a:gd name="T20" fmla="*/ 1153 w 1412"/>
                <a:gd name="T21" fmla="*/ 2 h 116"/>
                <a:gd name="T22" fmla="*/ 1128 w 1412"/>
                <a:gd name="T23" fmla="*/ 55 h 116"/>
                <a:gd name="T24" fmla="*/ 1130 w 1412"/>
                <a:gd name="T25" fmla="*/ 94 h 116"/>
                <a:gd name="T26" fmla="*/ 1012 w 1412"/>
                <a:gd name="T27" fmla="*/ 93 h 116"/>
                <a:gd name="T28" fmla="*/ 1030 w 1412"/>
                <a:gd name="T29" fmla="*/ 80 h 116"/>
                <a:gd name="T30" fmla="*/ 1062 w 1412"/>
                <a:gd name="T31" fmla="*/ 43 h 116"/>
                <a:gd name="T32" fmla="*/ 1035 w 1412"/>
                <a:gd name="T33" fmla="*/ 66 h 116"/>
                <a:gd name="T34" fmla="*/ 1046 w 1412"/>
                <a:gd name="T35" fmla="*/ 114 h 116"/>
                <a:gd name="T36" fmla="*/ 958 w 1412"/>
                <a:gd name="T37" fmla="*/ 36 h 116"/>
                <a:gd name="T38" fmla="*/ 986 w 1412"/>
                <a:gd name="T39" fmla="*/ 101 h 116"/>
                <a:gd name="T40" fmla="*/ 958 w 1412"/>
                <a:gd name="T41" fmla="*/ 99 h 116"/>
                <a:gd name="T42" fmla="*/ 934 w 1412"/>
                <a:gd name="T43" fmla="*/ 34 h 116"/>
                <a:gd name="T44" fmla="*/ 895 w 1412"/>
                <a:gd name="T45" fmla="*/ 114 h 116"/>
                <a:gd name="T46" fmla="*/ 855 w 1412"/>
                <a:gd name="T47" fmla="*/ 19 h 116"/>
                <a:gd name="T48" fmla="*/ 728 w 1412"/>
                <a:gd name="T49" fmla="*/ 36 h 116"/>
                <a:gd name="T50" fmla="*/ 775 w 1412"/>
                <a:gd name="T51" fmla="*/ 36 h 116"/>
                <a:gd name="T52" fmla="*/ 821 w 1412"/>
                <a:gd name="T53" fmla="*/ 36 h 116"/>
                <a:gd name="T54" fmla="*/ 780 w 1412"/>
                <a:gd name="T55" fmla="*/ 67 h 116"/>
                <a:gd name="T56" fmla="*/ 692 w 1412"/>
                <a:gd name="T57" fmla="*/ 50 h 116"/>
                <a:gd name="T58" fmla="*/ 693 w 1412"/>
                <a:gd name="T59" fmla="*/ 66 h 116"/>
                <a:gd name="T60" fmla="*/ 607 w 1412"/>
                <a:gd name="T61" fmla="*/ 68 h 116"/>
                <a:gd name="T62" fmla="*/ 650 w 1412"/>
                <a:gd name="T63" fmla="*/ 44 h 116"/>
                <a:gd name="T64" fmla="*/ 649 w 1412"/>
                <a:gd name="T65" fmla="*/ 96 h 116"/>
                <a:gd name="T66" fmla="*/ 527 w 1412"/>
                <a:gd name="T67" fmla="*/ 93 h 116"/>
                <a:gd name="T68" fmla="*/ 545 w 1412"/>
                <a:gd name="T69" fmla="*/ 80 h 116"/>
                <a:gd name="T70" fmla="*/ 577 w 1412"/>
                <a:gd name="T71" fmla="*/ 43 h 116"/>
                <a:gd name="T72" fmla="*/ 550 w 1412"/>
                <a:gd name="T73" fmla="*/ 66 h 116"/>
                <a:gd name="T74" fmla="*/ 561 w 1412"/>
                <a:gd name="T75" fmla="*/ 114 h 116"/>
                <a:gd name="T76" fmla="*/ 490 w 1412"/>
                <a:gd name="T77" fmla="*/ 99 h 116"/>
                <a:gd name="T78" fmla="*/ 457 w 1412"/>
                <a:gd name="T79" fmla="*/ 66 h 116"/>
                <a:gd name="T80" fmla="*/ 483 w 1412"/>
                <a:gd name="T81" fmla="*/ 48 h 116"/>
                <a:gd name="T82" fmla="*/ 503 w 1412"/>
                <a:gd name="T83" fmla="*/ 76 h 116"/>
                <a:gd name="T84" fmla="*/ 451 w 1412"/>
                <a:gd name="T85" fmla="*/ 105 h 116"/>
                <a:gd name="T86" fmla="*/ 405 w 1412"/>
                <a:gd name="T87" fmla="*/ 78 h 116"/>
                <a:gd name="T88" fmla="*/ 415 w 1412"/>
                <a:gd name="T89" fmla="*/ 53 h 116"/>
                <a:gd name="T90" fmla="*/ 429 w 1412"/>
                <a:gd name="T91" fmla="*/ 43 h 116"/>
                <a:gd name="T92" fmla="*/ 379 w 1412"/>
                <a:gd name="T93" fmla="*/ 109 h 116"/>
                <a:gd name="T94" fmla="*/ 279 w 1412"/>
                <a:gd name="T95" fmla="*/ 79 h 116"/>
                <a:gd name="T96" fmla="*/ 334 w 1412"/>
                <a:gd name="T97" fmla="*/ 79 h 116"/>
                <a:gd name="T98" fmla="*/ 303 w 1412"/>
                <a:gd name="T99" fmla="*/ 35 h 116"/>
                <a:gd name="T100" fmla="*/ 182 w 1412"/>
                <a:gd name="T101" fmla="*/ 53 h 116"/>
                <a:gd name="T102" fmla="*/ 156 w 1412"/>
                <a:gd name="T103" fmla="*/ 37 h 116"/>
                <a:gd name="T104" fmla="*/ 158 w 1412"/>
                <a:gd name="T105" fmla="*/ 96 h 116"/>
                <a:gd name="T106" fmla="*/ 144 w 1412"/>
                <a:gd name="T107" fmla="*/ 105 h 116"/>
                <a:gd name="T108" fmla="*/ 106 w 1412"/>
                <a:gd name="T109" fmla="*/ 22 h 116"/>
                <a:gd name="T110" fmla="*/ 106 w 1412"/>
                <a:gd name="T111" fmla="*/ 22 h 116"/>
                <a:gd name="T112" fmla="*/ 26 w 1412"/>
                <a:gd name="T113" fmla="*/ 99 h 116"/>
                <a:gd name="T114" fmla="*/ 28 w 1412"/>
                <a:gd name="T115" fmla="*/ 11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12" h="116">
                  <a:moveTo>
                    <a:pt x="1412" y="113"/>
                  </a:moveTo>
                  <a:cubicBezTo>
                    <a:pt x="1410" y="113"/>
                    <a:pt x="1407" y="114"/>
                    <a:pt x="1405" y="115"/>
                  </a:cubicBezTo>
                  <a:cubicBezTo>
                    <a:pt x="1402" y="115"/>
                    <a:pt x="1399" y="116"/>
                    <a:pt x="1396" y="116"/>
                  </a:cubicBezTo>
                  <a:cubicBezTo>
                    <a:pt x="1391" y="116"/>
                    <a:pt x="1388" y="115"/>
                    <a:pt x="1385" y="114"/>
                  </a:cubicBezTo>
                  <a:cubicBezTo>
                    <a:pt x="1381" y="112"/>
                    <a:pt x="1379" y="110"/>
                    <a:pt x="1377" y="108"/>
                  </a:cubicBezTo>
                  <a:cubicBezTo>
                    <a:pt x="1375" y="105"/>
                    <a:pt x="1374" y="102"/>
                    <a:pt x="1373" y="99"/>
                  </a:cubicBezTo>
                  <a:cubicBezTo>
                    <a:pt x="1372" y="95"/>
                    <a:pt x="1371" y="92"/>
                    <a:pt x="1371" y="87"/>
                  </a:cubicBezTo>
                  <a:lnTo>
                    <a:pt x="1371" y="50"/>
                  </a:lnTo>
                  <a:lnTo>
                    <a:pt x="1345" y="50"/>
                  </a:lnTo>
                  <a:lnTo>
                    <a:pt x="1345" y="114"/>
                  </a:lnTo>
                  <a:lnTo>
                    <a:pt x="1327" y="114"/>
                  </a:lnTo>
                  <a:lnTo>
                    <a:pt x="1327" y="50"/>
                  </a:lnTo>
                  <a:lnTo>
                    <a:pt x="1317" y="50"/>
                  </a:lnTo>
                  <a:lnTo>
                    <a:pt x="1317" y="37"/>
                  </a:lnTo>
                  <a:lnTo>
                    <a:pt x="1327" y="36"/>
                  </a:lnTo>
                  <a:lnTo>
                    <a:pt x="1327" y="28"/>
                  </a:lnTo>
                  <a:cubicBezTo>
                    <a:pt x="1327" y="24"/>
                    <a:pt x="1328" y="20"/>
                    <a:pt x="1329" y="17"/>
                  </a:cubicBezTo>
                  <a:cubicBezTo>
                    <a:pt x="1330" y="13"/>
                    <a:pt x="1331" y="10"/>
                    <a:pt x="1333" y="8"/>
                  </a:cubicBezTo>
                  <a:cubicBezTo>
                    <a:pt x="1335" y="5"/>
                    <a:pt x="1338" y="3"/>
                    <a:pt x="1341" y="2"/>
                  </a:cubicBezTo>
                  <a:cubicBezTo>
                    <a:pt x="1345" y="1"/>
                    <a:pt x="1348" y="0"/>
                    <a:pt x="1353" y="0"/>
                  </a:cubicBezTo>
                  <a:cubicBezTo>
                    <a:pt x="1356" y="0"/>
                    <a:pt x="1358" y="0"/>
                    <a:pt x="1361" y="1"/>
                  </a:cubicBezTo>
                  <a:cubicBezTo>
                    <a:pt x="1363" y="1"/>
                    <a:pt x="1366" y="2"/>
                    <a:pt x="1367" y="3"/>
                  </a:cubicBezTo>
                  <a:lnTo>
                    <a:pt x="1364" y="16"/>
                  </a:lnTo>
                  <a:cubicBezTo>
                    <a:pt x="1361" y="15"/>
                    <a:pt x="1358" y="14"/>
                    <a:pt x="1355" y="14"/>
                  </a:cubicBezTo>
                  <a:cubicBezTo>
                    <a:pt x="1349" y="14"/>
                    <a:pt x="1345" y="19"/>
                    <a:pt x="1345" y="28"/>
                  </a:cubicBezTo>
                  <a:lnTo>
                    <a:pt x="1345" y="36"/>
                  </a:lnTo>
                  <a:lnTo>
                    <a:pt x="1372" y="36"/>
                  </a:lnTo>
                  <a:lnTo>
                    <a:pt x="1374" y="15"/>
                  </a:lnTo>
                  <a:lnTo>
                    <a:pt x="1389" y="15"/>
                  </a:lnTo>
                  <a:lnTo>
                    <a:pt x="1389" y="36"/>
                  </a:lnTo>
                  <a:lnTo>
                    <a:pt x="1409" y="36"/>
                  </a:lnTo>
                  <a:lnTo>
                    <a:pt x="1409" y="50"/>
                  </a:lnTo>
                  <a:lnTo>
                    <a:pt x="1389" y="50"/>
                  </a:lnTo>
                  <a:lnTo>
                    <a:pt x="1389" y="87"/>
                  </a:lnTo>
                  <a:cubicBezTo>
                    <a:pt x="1389" y="96"/>
                    <a:pt x="1393" y="101"/>
                    <a:pt x="1401" y="101"/>
                  </a:cubicBezTo>
                  <a:cubicBezTo>
                    <a:pt x="1402" y="101"/>
                    <a:pt x="1403" y="101"/>
                    <a:pt x="1405" y="101"/>
                  </a:cubicBezTo>
                  <a:cubicBezTo>
                    <a:pt x="1406" y="100"/>
                    <a:pt x="1407" y="100"/>
                    <a:pt x="1409" y="99"/>
                  </a:cubicBezTo>
                  <a:lnTo>
                    <a:pt x="1412" y="113"/>
                  </a:lnTo>
                  <a:close/>
                  <a:moveTo>
                    <a:pt x="1256" y="91"/>
                  </a:moveTo>
                  <a:cubicBezTo>
                    <a:pt x="1256" y="95"/>
                    <a:pt x="1257" y="97"/>
                    <a:pt x="1259" y="99"/>
                  </a:cubicBezTo>
                  <a:cubicBezTo>
                    <a:pt x="1261" y="101"/>
                    <a:pt x="1264" y="101"/>
                    <a:pt x="1267" y="101"/>
                  </a:cubicBezTo>
                  <a:cubicBezTo>
                    <a:pt x="1270" y="101"/>
                    <a:pt x="1273" y="101"/>
                    <a:pt x="1276" y="99"/>
                  </a:cubicBezTo>
                  <a:cubicBezTo>
                    <a:pt x="1278" y="98"/>
                    <a:pt x="1281" y="96"/>
                    <a:pt x="1284" y="93"/>
                  </a:cubicBezTo>
                  <a:lnTo>
                    <a:pt x="1284" y="75"/>
                  </a:lnTo>
                  <a:cubicBezTo>
                    <a:pt x="1278" y="76"/>
                    <a:pt x="1274" y="77"/>
                    <a:pt x="1270" y="78"/>
                  </a:cubicBezTo>
                  <a:cubicBezTo>
                    <a:pt x="1267" y="79"/>
                    <a:pt x="1264" y="80"/>
                    <a:pt x="1262" y="81"/>
                  </a:cubicBezTo>
                  <a:cubicBezTo>
                    <a:pt x="1260" y="83"/>
                    <a:pt x="1258" y="84"/>
                    <a:pt x="1257" y="86"/>
                  </a:cubicBezTo>
                  <a:cubicBezTo>
                    <a:pt x="1256" y="88"/>
                    <a:pt x="1256" y="89"/>
                    <a:pt x="1256" y="91"/>
                  </a:cubicBezTo>
                  <a:close/>
                  <a:moveTo>
                    <a:pt x="1238" y="93"/>
                  </a:moveTo>
                  <a:cubicBezTo>
                    <a:pt x="1238" y="84"/>
                    <a:pt x="1242" y="78"/>
                    <a:pt x="1249" y="73"/>
                  </a:cubicBezTo>
                  <a:cubicBezTo>
                    <a:pt x="1256" y="69"/>
                    <a:pt x="1268" y="66"/>
                    <a:pt x="1284" y="64"/>
                  </a:cubicBezTo>
                  <a:cubicBezTo>
                    <a:pt x="1284" y="62"/>
                    <a:pt x="1283" y="60"/>
                    <a:pt x="1283" y="58"/>
                  </a:cubicBezTo>
                  <a:cubicBezTo>
                    <a:pt x="1282" y="56"/>
                    <a:pt x="1282" y="55"/>
                    <a:pt x="1281" y="53"/>
                  </a:cubicBezTo>
                  <a:cubicBezTo>
                    <a:pt x="1279" y="52"/>
                    <a:pt x="1278" y="51"/>
                    <a:pt x="1276" y="50"/>
                  </a:cubicBezTo>
                  <a:cubicBezTo>
                    <a:pt x="1274" y="49"/>
                    <a:pt x="1272" y="49"/>
                    <a:pt x="1270" y="49"/>
                  </a:cubicBezTo>
                  <a:cubicBezTo>
                    <a:pt x="1266" y="49"/>
                    <a:pt x="1262" y="50"/>
                    <a:pt x="1258" y="51"/>
                  </a:cubicBezTo>
                  <a:cubicBezTo>
                    <a:pt x="1255" y="52"/>
                    <a:pt x="1251" y="54"/>
                    <a:pt x="1248" y="56"/>
                  </a:cubicBezTo>
                  <a:lnTo>
                    <a:pt x="1241" y="44"/>
                  </a:lnTo>
                  <a:cubicBezTo>
                    <a:pt x="1245" y="41"/>
                    <a:pt x="1250" y="39"/>
                    <a:pt x="1256" y="37"/>
                  </a:cubicBezTo>
                  <a:cubicBezTo>
                    <a:pt x="1261" y="35"/>
                    <a:pt x="1267" y="34"/>
                    <a:pt x="1273" y="34"/>
                  </a:cubicBezTo>
                  <a:cubicBezTo>
                    <a:pt x="1283" y="34"/>
                    <a:pt x="1290" y="37"/>
                    <a:pt x="1295" y="43"/>
                  </a:cubicBezTo>
                  <a:cubicBezTo>
                    <a:pt x="1300" y="48"/>
                    <a:pt x="1302" y="57"/>
                    <a:pt x="1302" y="68"/>
                  </a:cubicBezTo>
                  <a:lnTo>
                    <a:pt x="1302" y="114"/>
                  </a:lnTo>
                  <a:lnTo>
                    <a:pt x="1287" y="114"/>
                  </a:lnTo>
                  <a:lnTo>
                    <a:pt x="1286" y="105"/>
                  </a:lnTo>
                  <a:lnTo>
                    <a:pt x="1285" y="105"/>
                  </a:lnTo>
                  <a:cubicBezTo>
                    <a:pt x="1282" y="108"/>
                    <a:pt x="1278" y="111"/>
                    <a:pt x="1274" y="113"/>
                  </a:cubicBezTo>
                  <a:cubicBezTo>
                    <a:pt x="1270" y="115"/>
                    <a:pt x="1266" y="116"/>
                    <a:pt x="1261" y="116"/>
                  </a:cubicBezTo>
                  <a:cubicBezTo>
                    <a:pt x="1254" y="116"/>
                    <a:pt x="1249" y="114"/>
                    <a:pt x="1244" y="109"/>
                  </a:cubicBezTo>
                  <a:cubicBezTo>
                    <a:pt x="1240" y="105"/>
                    <a:pt x="1238" y="100"/>
                    <a:pt x="1238" y="93"/>
                  </a:cubicBezTo>
                  <a:close/>
                  <a:moveTo>
                    <a:pt x="1153" y="2"/>
                  </a:moveTo>
                  <a:lnTo>
                    <a:pt x="1171" y="2"/>
                  </a:lnTo>
                  <a:lnTo>
                    <a:pt x="1171" y="31"/>
                  </a:lnTo>
                  <a:lnTo>
                    <a:pt x="1171" y="46"/>
                  </a:lnTo>
                  <a:cubicBezTo>
                    <a:pt x="1174" y="43"/>
                    <a:pt x="1177" y="40"/>
                    <a:pt x="1181" y="38"/>
                  </a:cubicBezTo>
                  <a:cubicBezTo>
                    <a:pt x="1185" y="35"/>
                    <a:pt x="1190" y="34"/>
                    <a:pt x="1195" y="34"/>
                  </a:cubicBezTo>
                  <a:cubicBezTo>
                    <a:pt x="1204" y="34"/>
                    <a:pt x="1210" y="37"/>
                    <a:pt x="1214" y="42"/>
                  </a:cubicBezTo>
                  <a:cubicBezTo>
                    <a:pt x="1217" y="47"/>
                    <a:pt x="1219" y="55"/>
                    <a:pt x="1219" y="65"/>
                  </a:cubicBezTo>
                  <a:lnTo>
                    <a:pt x="1219" y="114"/>
                  </a:lnTo>
                  <a:lnTo>
                    <a:pt x="1201" y="114"/>
                  </a:lnTo>
                  <a:lnTo>
                    <a:pt x="1201" y="67"/>
                  </a:lnTo>
                  <a:cubicBezTo>
                    <a:pt x="1201" y="61"/>
                    <a:pt x="1200" y="56"/>
                    <a:pt x="1198" y="54"/>
                  </a:cubicBezTo>
                  <a:cubicBezTo>
                    <a:pt x="1196" y="51"/>
                    <a:pt x="1193" y="50"/>
                    <a:pt x="1189" y="50"/>
                  </a:cubicBezTo>
                  <a:cubicBezTo>
                    <a:pt x="1186" y="50"/>
                    <a:pt x="1183" y="51"/>
                    <a:pt x="1180" y="52"/>
                  </a:cubicBezTo>
                  <a:cubicBezTo>
                    <a:pt x="1177" y="54"/>
                    <a:pt x="1174" y="56"/>
                    <a:pt x="1171" y="59"/>
                  </a:cubicBezTo>
                  <a:lnTo>
                    <a:pt x="1171" y="114"/>
                  </a:lnTo>
                  <a:lnTo>
                    <a:pt x="1153" y="114"/>
                  </a:lnTo>
                  <a:lnTo>
                    <a:pt x="1153" y="2"/>
                  </a:lnTo>
                  <a:close/>
                  <a:moveTo>
                    <a:pt x="1075" y="75"/>
                  </a:moveTo>
                  <a:cubicBezTo>
                    <a:pt x="1075" y="68"/>
                    <a:pt x="1076" y="63"/>
                    <a:pt x="1078" y="58"/>
                  </a:cubicBezTo>
                  <a:cubicBezTo>
                    <a:pt x="1080" y="53"/>
                    <a:pt x="1083" y="48"/>
                    <a:pt x="1086" y="45"/>
                  </a:cubicBezTo>
                  <a:cubicBezTo>
                    <a:pt x="1090" y="41"/>
                    <a:pt x="1094" y="39"/>
                    <a:pt x="1099" y="37"/>
                  </a:cubicBezTo>
                  <a:cubicBezTo>
                    <a:pt x="1104" y="35"/>
                    <a:pt x="1109" y="34"/>
                    <a:pt x="1114" y="34"/>
                  </a:cubicBezTo>
                  <a:cubicBezTo>
                    <a:pt x="1119" y="34"/>
                    <a:pt x="1123" y="35"/>
                    <a:pt x="1127" y="37"/>
                  </a:cubicBezTo>
                  <a:cubicBezTo>
                    <a:pt x="1131" y="38"/>
                    <a:pt x="1134" y="41"/>
                    <a:pt x="1136" y="43"/>
                  </a:cubicBezTo>
                  <a:lnTo>
                    <a:pt x="1128" y="55"/>
                  </a:lnTo>
                  <a:cubicBezTo>
                    <a:pt x="1126" y="53"/>
                    <a:pt x="1124" y="51"/>
                    <a:pt x="1121" y="50"/>
                  </a:cubicBezTo>
                  <a:cubicBezTo>
                    <a:pt x="1119" y="49"/>
                    <a:pt x="1117" y="49"/>
                    <a:pt x="1115" y="49"/>
                  </a:cubicBezTo>
                  <a:cubicBezTo>
                    <a:pt x="1108" y="49"/>
                    <a:pt x="1103" y="51"/>
                    <a:pt x="1099" y="56"/>
                  </a:cubicBezTo>
                  <a:cubicBezTo>
                    <a:pt x="1095" y="61"/>
                    <a:pt x="1093" y="67"/>
                    <a:pt x="1093" y="75"/>
                  </a:cubicBezTo>
                  <a:cubicBezTo>
                    <a:pt x="1093" y="83"/>
                    <a:pt x="1095" y="89"/>
                    <a:pt x="1099" y="94"/>
                  </a:cubicBezTo>
                  <a:cubicBezTo>
                    <a:pt x="1103" y="98"/>
                    <a:pt x="1108" y="101"/>
                    <a:pt x="1114" y="101"/>
                  </a:cubicBezTo>
                  <a:cubicBezTo>
                    <a:pt x="1117" y="101"/>
                    <a:pt x="1120" y="100"/>
                    <a:pt x="1123" y="99"/>
                  </a:cubicBezTo>
                  <a:cubicBezTo>
                    <a:pt x="1126" y="97"/>
                    <a:pt x="1128" y="96"/>
                    <a:pt x="1130" y="94"/>
                  </a:cubicBezTo>
                  <a:lnTo>
                    <a:pt x="1138" y="106"/>
                  </a:lnTo>
                  <a:cubicBezTo>
                    <a:pt x="1134" y="109"/>
                    <a:pt x="1130" y="111"/>
                    <a:pt x="1126" y="113"/>
                  </a:cubicBezTo>
                  <a:cubicBezTo>
                    <a:pt x="1121" y="115"/>
                    <a:pt x="1117" y="116"/>
                    <a:pt x="1112" y="116"/>
                  </a:cubicBezTo>
                  <a:cubicBezTo>
                    <a:pt x="1107" y="116"/>
                    <a:pt x="1102" y="115"/>
                    <a:pt x="1097" y="113"/>
                  </a:cubicBezTo>
                  <a:cubicBezTo>
                    <a:pt x="1093" y="111"/>
                    <a:pt x="1089" y="108"/>
                    <a:pt x="1086" y="105"/>
                  </a:cubicBezTo>
                  <a:cubicBezTo>
                    <a:pt x="1082" y="101"/>
                    <a:pt x="1079" y="97"/>
                    <a:pt x="1078" y="92"/>
                  </a:cubicBezTo>
                  <a:cubicBezTo>
                    <a:pt x="1076" y="87"/>
                    <a:pt x="1075" y="81"/>
                    <a:pt x="1075" y="75"/>
                  </a:cubicBezTo>
                  <a:close/>
                  <a:moveTo>
                    <a:pt x="1012" y="93"/>
                  </a:moveTo>
                  <a:cubicBezTo>
                    <a:pt x="1016" y="96"/>
                    <a:pt x="1019" y="98"/>
                    <a:pt x="1023" y="100"/>
                  </a:cubicBezTo>
                  <a:cubicBezTo>
                    <a:pt x="1026" y="101"/>
                    <a:pt x="1030" y="102"/>
                    <a:pt x="1034" y="102"/>
                  </a:cubicBezTo>
                  <a:cubicBezTo>
                    <a:pt x="1038" y="102"/>
                    <a:pt x="1041" y="101"/>
                    <a:pt x="1043" y="99"/>
                  </a:cubicBezTo>
                  <a:cubicBezTo>
                    <a:pt x="1045" y="97"/>
                    <a:pt x="1046" y="95"/>
                    <a:pt x="1046" y="92"/>
                  </a:cubicBezTo>
                  <a:cubicBezTo>
                    <a:pt x="1046" y="91"/>
                    <a:pt x="1046" y="89"/>
                    <a:pt x="1045" y="88"/>
                  </a:cubicBezTo>
                  <a:cubicBezTo>
                    <a:pt x="1044" y="87"/>
                    <a:pt x="1043" y="86"/>
                    <a:pt x="1041" y="85"/>
                  </a:cubicBezTo>
                  <a:cubicBezTo>
                    <a:pt x="1039" y="84"/>
                    <a:pt x="1038" y="83"/>
                    <a:pt x="1036" y="82"/>
                  </a:cubicBezTo>
                  <a:cubicBezTo>
                    <a:pt x="1034" y="82"/>
                    <a:pt x="1032" y="81"/>
                    <a:pt x="1030" y="80"/>
                  </a:cubicBezTo>
                  <a:cubicBezTo>
                    <a:pt x="1027" y="79"/>
                    <a:pt x="1024" y="78"/>
                    <a:pt x="1022" y="77"/>
                  </a:cubicBezTo>
                  <a:cubicBezTo>
                    <a:pt x="1019" y="75"/>
                    <a:pt x="1017" y="74"/>
                    <a:pt x="1015" y="72"/>
                  </a:cubicBezTo>
                  <a:cubicBezTo>
                    <a:pt x="1013" y="70"/>
                    <a:pt x="1011" y="68"/>
                    <a:pt x="1010" y="66"/>
                  </a:cubicBezTo>
                  <a:cubicBezTo>
                    <a:pt x="1008" y="63"/>
                    <a:pt x="1008" y="61"/>
                    <a:pt x="1008" y="57"/>
                  </a:cubicBezTo>
                  <a:cubicBezTo>
                    <a:pt x="1008" y="50"/>
                    <a:pt x="1010" y="45"/>
                    <a:pt x="1015" y="41"/>
                  </a:cubicBezTo>
                  <a:cubicBezTo>
                    <a:pt x="1020" y="36"/>
                    <a:pt x="1027" y="34"/>
                    <a:pt x="1036" y="34"/>
                  </a:cubicBezTo>
                  <a:cubicBezTo>
                    <a:pt x="1041" y="34"/>
                    <a:pt x="1046" y="35"/>
                    <a:pt x="1051" y="37"/>
                  </a:cubicBezTo>
                  <a:cubicBezTo>
                    <a:pt x="1055" y="39"/>
                    <a:pt x="1059" y="41"/>
                    <a:pt x="1062" y="43"/>
                  </a:cubicBezTo>
                  <a:lnTo>
                    <a:pt x="1054" y="54"/>
                  </a:lnTo>
                  <a:cubicBezTo>
                    <a:pt x="1051" y="52"/>
                    <a:pt x="1048" y="51"/>
                    <a:pt x="1045" y="50"/>
                  </a:cubicBezTo>
                  <a:cubicBezTo>
                    <a:pt x="1042" y="48"/>
                    <a:pt x="1039" y="48"/>
                    <a:pt x="1036" y="48"/>
                  </a:cubicBezTo>
                  <a:cubicBezTo>
                    <a:pt x="1033" y="48"/>
                    <a:pt x="1030" y="49"/>
                    <a:pt x="1028" y="50"/>
                  </a:cubicBezTo>
                  <a:cubicBezTo>
                    <a:pt x="1026" y="52"/>
                    <a:pt x="1025" y="54"/>
                    <a:pt x="1025" y="56"/>
                  </a:cubicBezTo>
                  <a:cubicBezTo>
                    <a:pt x="1025" y="58"/>
                    <a:pt x="1025" y="59"/>
                    <a:pt x="1026" y="60"/>
                  </a:cubicBezTo>
                  <a:cubicBezTo>
                    <a:pt x="1027" y="62"/>
                    <a:pt x="1028" y="63"/>
                    <a:pt x="1030" y="63"/>
                  </a:cubicBezTo>
                  <a:cubicBezTo>
                    <a:pt x="1031" y="64"/>
                    <a:pt x="1033" y="65"/>
                    <a:pt x="1035" y="66"/>
                  </a:cubicBezTo>
                  <a:cubicBezTo>
                    <a:pt x="1037" y="66"/>
                    <a:pt x="1039" y="67"/>
                    <a:pt x="1041" y="68"/>
                  </a:cubicBezTo>
                  <a:cubicBezTo>
                    <a:pt x="1044" y="69"/>
                    <a:pt x="1046" y="70"/>
                    <a:pt x="1049" y="71"/>
                  </a:cubicBezTo>
                  <a:cubicBezTo>
                    <a:pt x="1052" y="72"/>
                    <a:pt x="1054" y="74"/>
                    <a:pt x="1056" y="76"/>
                  </a:cubicBezTo>
                  <a:cubicBezTo>
                    <a:pt x="1058" y="77"/>
                    <a:pt x="1060" y="80"/>
                    <a:pt x="1062" y="82"/>
                  </a:cubicBezTo>
                  <a:cubicBezTo>
                    <a:pt x="1063" y="85"/>
                    <a:pt x="1063" y="88"/>
                    <a:pt x="1063" y="92"/>
                  </a:cubicBezTo>
                  <a:cubicBezTo>
                    <a:pt x="1063" y="95"/>
                    <a:pt x="1063" y="98"/>
                    <a:pt x="1062" y="101"/>
                  </a:cubicBezTo>
                  <a:cubicBezTo>
                    <a:pt x="1060" y="104"/>
                    <a:pt x="1058" y="106"/>
                    <a:pt x="1056" y="109"/>
                  </a:cubicBezTo>
                  <a:cubicBezTo>
                    <a:pt x="1053" y="111"/>
                    <a:pt x="1050" y="112"/>
                    <a:pt x="1046" y="114"/>
                  </a:cubicBezTo>
                  <a:cubicBezTo>
                    <a:pt x="1042" y="115"/>
                    <a:pt x="1038" y="116"/>
                    <a:pt x="1033" y="116"/>
                  </a:cubicBezTo>
                  <a:cubicBezTo>
                    <a:pt x="1028" y="116"/>
                    <a:pt x="1023" y="115"/>
                    <a:pt x="1017" y="113"/>
                  </a:cubicBezTo>
                  <a:cubicBezTo>
                    <a:pt x="1012" y="110"/>
                    <a:pt x="1008" y="108"/>
                    <a:pt x="1004" y="105"/>
                  </a:cubicBezTo>
                  <a:lnTo>
                    <a:pt x="1012" y="93"/>
                  </a:lnTo>
                  <a:close/>
                  <a:moveTo>
                    <a:pt x="957" y="50"/>
                  </a:moveTo>
                  <a:lnTo>
                    <a:pt x="946" y="50"/>
                  </a:lnTo>
                  <a:lnTo>
                    <a:pt x="946" y="37"/>
                  </a:lnTo>
                  <a:lnTo>
                    <a:pt x="958" y="36"/>
                  </a:lnTo>
                  <a:lnTo>
                    <a:pt x="960" y="15"/>
                  </a:lnTo>
                  <a:lnTo>
                    <a:pt x="975" y="15"/>
                  </a:lnTo>
                  <a:lnTo>
                    <a:pt x="975" y="36"/>
                  </a:lnTo>
                  <a:lnTo>
                    <a:pt x="995" y="36"/>
                  </a:lnTo>
                  <a:lnTo>
                    <a:pt x="995" y="50"/>
                  </a:lnTo>
                  <a:lnTo>
                    <a:pt x="975" y="50"/>
                  </a:lnTo>
                  <a:lnTo>
                    <a:pt x="975" y="87"/>
                  </a:lnTo>
                  <a:cubicBezTo>
                    <a:pt x="975" y="96"/>
                    <a:pt x="979" y="101"/>
                    <a:pt x="986" y="101"/>
                  </a:cubicBezTo>
                  <a:cubicBezTo>
                    <a:pt x="988" y="101"/>
                    <a:pt x="989" y="101"/>
                    <a:pt x="991" y="101"/>
                  </a:cubicBezTo>
                  <a:cubicBezTo>
                    <a:pt x="992" y="100"/>
                    <a:pt x="993" y="100"/>
                    <a:pt x="994" y="99"/>
                  </a:cubicBezTo>
                  <a:lnTo>
                    <a:pt x="998" y="113"/>
                  </a:lnTo>
                  <a:cubicBezTo>
                    <a:pt x="996" y="113"/>
                    <a:pt x="993" y="114"/>
                    <a:pt x="990" y="115"/>
                  </a:cubicBezTo>
                  <a:cubicBezTo>
                    <a:pt x="988" y="115"/>
                    <a:pt x="985" y="116"/>
                    <a:pt x="982" y="116"/>
                  </a:cubicBezTo>
                  <a:cubicBezTo>
                    <a:pt x="977" y="116"/>
                    <a:pt x="973" y="115"/>
                    <a:pt x="970" y="114"/>
                  </a:cubicBezTo>
                  <a:cubicBezTo>
                    <a:pt x="967" y="112"/>
                    <a:pt x="965" y="110"/>
                    <a:pt x="963" y="108"/>
                  </a:cubicBezTo>
                  <a:cubicBezTo>
                    <a:pt x="961" y="105"/>
                    <a:pt x="959" y="102"/>
                    <a:pt x="958" y="99"/>
                  </a:cubicBezTo>
                  <a:cubicBezTo>
                    <a:pt x="958" y="95"/>
                    <a:pt x="957" y="92"/>
                    <a:pt x="957" y="87"/>
                  </a:cubicBezTo>
                  <a:lnTo>
                    <a:pt x="957" y="50"/>
                  </a:lnTo>
                  <a:close/>
                  <a:moveTo>
                    <a:pt x="895" y="36"/>
                  </a:moveTo>
                  <a:lnTo>
                    <a:pt x="910" y="36"/>
                  </a:lnTo>
                  <a:lnTo>
                    <a:pt x="912" y="50"/>
                  </a:lnTo>
                  <a:lnTo>
                    <a:pt x="912" y="50"/>
                  </a:lnTo>
                  <a:cubicBezTo>
                    <a:pt x="915" y="45"/>
                    <a:pt x="918" y="41"/>
                    <a:pt x="922" y="38"/>
                  </a:cubicBezTo>
                  <a:cubicBezTo>
                    <a:pt x="926" y="35"/>
                    <a:pt x="930" y="34"/>
                    <a:pt x="934" y="34"/>
                  </a:cubicBezTo>
                  <a:cubicBezTo>
                    <a:pt x="938" y="34"/>
                    <a:pt x="941" y="35"/>
                    <a:pt x="943" y="36"/>
                  </a:cubicBezTo>
                  <a:lnTo>
                    <a:pt x="940" y="51"/>
                  </a:lnTo>
                  <a:cubicBezTo>
                    <a:pt x="939" y="51"/>
                    <a:pt x="937" y="51"/>
                    <a:pt x="936" y="51"/>
                  </a:cubicBezTo>
                  <a:cubicBezTo>
                    <a:pt x="935" y="50"/>
                    <a:pt x="934" y="50"/>
                    <a:pt x="932" y="50"/>
                  </a:cubicBezTo>
                  <a:cubicBezTo>
                    <a:pt x="929" y="50"/>
                    <a:pt x="926" y="51"/>
                    <a:pt x="922" y="54"/>
                  </a:cubicBezTo>
                  <a:cubicBezTo>
                    <a:pt x="919" y="56"/>
                    <a:pt x="916" y="60"/>
                    <a:pt x="914" y="66"/>
                  </a:cubicBezTo>
                  <a:lnTo>
                    <a:pt x="914" y="114"/>
                  </a:lnTo>
                  <a:lnTo>
                    <a:pt x="895" y="114"/>
                  </a:lnTo>
                  <a:lnTo>
                    <a:pt x="895" y="36"/>
                  </a:lnTo>
                  <a:close/>
                  <a:moveTo>
                    <a:pt x="854" y="36"/>
                  </a:moveTo>
                  <a:lnTo>
                    <a:pt x="872" y="36"/>
                  </a:lnTo>
                  <a:lnTo>
                    <a:pt x="872" y="114"/>
                  </a:lnTo>
                  <a:lnTo>
                    <a:pt x="854" y="114"/>
                  </a:lnTo>
                  <a:lnTo>
                    <a:pt x="854" y="36"/>
                  </a:lnTo>
                  <a:close/>
                  <a:moveTo>
                    <a:pt x="863" y="22"/>
                  </a:moveTo>
                  <a:cubicBezTo>
                    <a:pt x="860" y="22"/>
                    <a:pt x="857" y="21"/>
                    <a:pt x="855" y="19"/>
                  </a:cubicBezTo>
                  <a:cubicBezTo>
                    <a:pt x="853" y="18"/>
                    <a:pt x="852" y="15"/>
                    <a:pt x="852" y="12"/>
                  </a:cubicBezTo>
                  <a:cubicBezTo>
                    <a:pt x="852" y="9"/>
                    <a:pt x="853" y="6"/>
                    <a:pt x="855" y="5"/>
                  </a:cubicBezTo>
                  <a:cubicBezTo>
                    <a:pt x="857" y="3"/>
                    <a:pt x="860" y="2"/>
                    <a:pt x="863" y="2"/>
                  </a:cubicBezTo>
                  <a:cubicBezTo>
                    <a:pt x="866" y="2"/>
                    <a:pt x="869" y="3"/>
                    <a:pt x="871" y="5"/>
                  </a:cubicBezTo>
                  <a:cubicBezTo>
                    <a:pt x="873" y="6"/>
                    <a:pt x="874" y="9"/>
                    <a:pt x="874" y="12"/>
                  </a:cubicBezTo>
                  <a:cubicBezTo>
                    <a:pt x="874" y="15"/>
                    <a:pt x="873" y="18"/>
                    <a:pt x="871" y="19"/>
                  </a:cubicBezTo>
                  <a:cubicBezTo>
                    <a:pt x="869" y="21"/>
                    <a:pt x="866" y="22"/>
                    <a:pt x="863" y="22"/>
                  </a:cubicBezTo>
                  <a:close/>
                  <a:moveTo>
                    <a:pt x="728" y="36"/>
                  </a:moveTo>
                  <a:lnTo>
                    <a:pt x="746" y="36"/>
                  </a:lnTo>
                  <a:lnTo>
                    <a:pt x="755" y="76"/>
                  </a:lnTo>
                  <a:cubicBezTo>
                    <a:pt x="756" y="80"/>
                    <a:pt x="757" y="84"/>
                    <a:pt x="758" y="87"/>
                  </a:cubicBezTo>
                  <a:cubicBezTo>
                    <a:pt x="758" y="91"/>
                    <a:pt x="759" y="95"/>
                    <a:pt x="760" y="99"/>
                  </a:cubicBezTo>
                  <a:lnTo>
                    <a:pt x="760" y="99"/>
                  </a:lnTo>
                  <a:cubicBezTo>
                    <a:pt x="761" y="95"/>
                    <a:pt x="762" y="91"/>
                    <a:pt x="762" y="87"/>
                  </a:cubicBezTo>
                  <a:cubicBezTo>
                    <a:pt x="763" y="84"/>
                    <a:pt x="764" y="80"/>
                    <a:pt x="765" y="76"/>
                  </a:cubicBezTo>
                  <a:lnTo>
                    <a:pt x="775" y="36"/>
                  </a:lnTo>
                  <a:lnTo>
                    <a:pt x="792" y="36"/>
                  </a:lnTo>
                  <a:lnTo>
                    <a:pt x="802" y="76"/>
                  </a:lnTo>
                  <a:cubicBezTo>
                    <a:pt x="803" y="80"/>
                    <a:pt x="804" y="84"/>
                    <a:pt x="805" y="87"/>
                  </a:cubicBezTo>
                  <a:cubicBezTo>
                    <a:pt x="806" y="91"/>
                    <a:pt x="806" y="95"/>
                    <a:pt x="807" y="99"/>
                  </a:cubicBezTo>
                  <a:lnTo>
                    <a:pt x="808" y="99"/>
                  </a:lnTo>
                  <a:cubicBezTo>
                    <a:pt x="809" y="95"/>
                    <a:pt x="809" y="91"/>
                    <a:pt x="810" y="87"/>
                  </a:cubicBezTo>
                  <a:cubicBezTo>
                    <a:pt x="811" y="84"/>
                    <a:pt x="811" y="80"/>
                    <a:pt x="812" y="76"/>
                  </a:cubicBezTo>
                  <a:lnTo>
                    <a:pt x="821" y="36"/>
                  </a:lnTo>
                  <a:lnTo>
                    <a:pt x="839" y="36"/>
                  </a:lnTo>
                  <a:lnTo>
                    <a:pt x="819" y="114"/>
                  </a:lnTo>
                  <a:lnTo>
                    <a:pt x="797" y="114"/>
                  </a:lnTo>
                  <a:lnTo>
                    <a:pt x="788" y="77"/>
                  </a:lnTo>
                  <a:cubicBezTo>
                    <a:pt x="787" y="74"/>
                    <a:pt x="786" y="70"/>
                    <a:pt x="786" y="66"/>
                  </a:cubicBezTo>
                  <a:cubicBezTo>
                    <a:pt x="785" y="63"/>
                    <a:pt x="784" y="59"/>
                    <a:pt x="783" y="55"/>
                  </a:cubicBezTo>
                  <a:lnTo>
                    <a:pt x="783" y="55"/>
                  </a:lnTo>
                  <a:cubicBezTo>
                    <a:pt x="782" y="59"/>
                    <a:pt x="781" y="63"/>
                    <a:pt x="780" y="67"/>
                  </a:cubicBezTo>
                  <a:cubicBezTo>
                    <a:pt x="780" y="70"/>
                    <a:pt x="779" y="74"/>
                    <a:pt x="778" y="78"/>
                  </a:cubicBezTo>
                  <a:lnTo>
                    <a:pt x="769" y="114"/>
                  </a:lnTo>
                  <a:lnTo>
                    <a:pt x="748" y="114"/>
                  </a:lnTo>
                  <a:lnTo>
                    <a:pt x="728" y="36"/>
                  </a:lnTo>
                  <a:close/>
                  <a:moveTo>
                    <a:pt x="675" y="36"/>
                  </a:moveTo>
                  <a:lnTo>
                    <a:pt x="690" y="36"/>
                  </a:lnTo>
                  <a:lnTo>
                    <a:pt x="691" y="50"/>
                  </a:lnTo>
                  <a:lnTo>
                    <a:pt x="692" y="50"/>
                  </a:lnTo>
                  <a:cubicBezTo>
                    <a:pt x="695" y="45"/>
                    <a:pt x="698" y="41"/>
                    <a:pt x="702" y="38"/>
                  </a:cubicBezTo>
                  <a:cubicBezTo>
                    <a:pt x="706" y="35"/>
                    <a:pt x="710" y="34"/>
                    <a:pt x="714" y="34"/>
                  </a:cubicBezTo>
                  <a:cubicBezTo>
                    <a:pt x="718" y="34"/>
                    <a:pt x="721" y="35"/>
                    <a:pt x="723" y="36"/>
                  </a:cubicBezTo>
                  <a:lnTo>
                    <a:pt x="720" y="51"/>
                  </a:lnTo>
                  <a:cubicBezTo>
                    <a:pt x="718" y="51"/>
                    <a:pt x="717" y="51"/>
                    <a:pt x="716" y="51"/>
                  </a:cubicBezTo>
                  <a:cubicBezTo>
                    <a:pt x="715" y="50"/>
                    <a:pt x="713" y="50"/>
                    <a:pt x="712" y="50"/>
                  </a:cubicBezTo>
                  <a:cubicBezTo>
                    <a:pt x="709" y="50"/>
                    <a:pt x="705" y="51"/>
                    <a:pt x="702" y="54"/>
                  </a:cubicBezTo>
                  <a:cubicBezTo>
                    <a:pt x="699" y="56"/>
                    <a:pt x="696" y="60"/>
                    <a:pt x="693" y="66"/>
                  </a:cubicBezTo>
                  <a:lnTo>
                    <a:pt x="693" y="114"/>
                  </a:lnTo>
                  <a:lnTo>
                    <a:pt x="675" y="114"/>
                  </a:lnTo>
                  <a:lnTo>
                    <a:pt x="675" y="36"/>
                  </a:lnTo>
                  <a:close/>
                  <a:moveTo>
                    <a:pt x="642" y="68"/>
                  </a:moveTo>
                  <a:cubicBezTo>
                    <a:pt x="642" y="62"/>
                    <a:pt x="641" y="57"/>
                    <a:pt x="638" y="53"/>
                  </a:cubicBezTo>
                  <a:cubicBezTo>
                    <a:pt x="635" y="50"/>
                    <a:pt x="631" y="48"/>
                    <a:pt x="626" y="48"/>
                  </a:cubicBezTo>
                  <a:cubicBezTo>
                    <a:pt x="621" y="48"/>
                    <a:pt x="617" y="50"/>
                    <a:pt x="614" y="53"/>
                  </a:cubicBezTo>
                  <a:cubicBezTo>
                    <a:pt x="610" y="56"/>
                    <a:pt x="608" y="61"/>
                    <a:pt x="607" y="68"/>
                  </a:cubicBezTo>
                  <a:lnTo>
                    <a:pt x="642" y="68"/>
                  </a:lnTo>
                  <a:close/>
                  <a:moveTo>
                    <a:pt x="590" y="75"/>
                  </a:moveTo>
                  <a:cubicBezTo>
                    <a:pt x="590" y="69"/>
                    <a:pt x="591" y="63"/>
                    <a:pt x="593" y="58"/>
                  </a:cubicBezTo>
                  <a:cubicBezTo>
                    <a:pt x="595" y="53"/>
                    <a:pt x="597" y="48"/>
                    <a:pt x="601" y="45"/>
                  </a:cubicBezTo>
                  <a:cubicBezTo>
                    <a:pt x="604" y="41"/>
                    <a:pt x="608" y="39"/>
                    <a:pt x="612" y="37"/>
                  </a:cubicBezTo>
                  <a:cubicBezTo>
                    <a:pt x="617" y="35"/>
                    <a:pt x="621" y="34"/>
                    <a:pt x="626" y="34"/>
                  </a:cubicBezTo>
                  <a:cubicBezTo>
                    <a:pt x="631" y="34"/>
                    <a:pt x="635" y="35"/>
                    <a:pt x="639" y="37"/>
                  </a:cubicBezTo>
                  <a:cubicBezTo>
                    <a:pt x="644" y="39"/>
                    <a:pt x="647" y="41"/>
                    <a:pt x="650" y="44"/>
                  </a:cubicBezTo>
                  <a:cubicBezTo>
                    <a:pt x="652" y="48"/>
                    <a:pt x="654" y="52"/>
                    <a:pt x="656" y="56"/>
                  </a:cubicBezTo>
                  <a:cubicBezTo>
                    <a:pt x="657" y="61"/>
                    <a:pt x="658" y="66"/>
                    <a:pt x="658" y="71"/>
                  </a:cubicBezTo>
                  <a:cubicBezTo>
                    <a:pt x="658" y="75"/>
                    <a:pt x="657" y="77"/>
                    <a:pt x="657" y="79"/>
                  </a:cubicBezTo>
                  <a:lnTo>
                    <a:pt x="608" y="79"/>
                  </a:lnTo>
                  <a:cubicBezTo>
                    <a:pt x="608" y="87"/>
                    <a:pt x="611" y="92"/>
                    <a:pt x="615" y="96"/>
                  </a:cubicBezTo>
                  <a:cubicBezTo>
                    <a:pt x="619" y="100"/>
                    <a:pt x="624" y="101"/>
                    <a:pt x="630" y="101"/>
                  </a:cubicBezTo>
                  <a:cubicBezTo>
                    <a:pt x="634" y="101"/>
                    <a:pt x="637" y="101"/>
                    <a:pt x="640" y="100"/>
                  </a:cubicBezTo>
                  <a:cubicBezTo>
                    <a:pt x="643" y="99"/>
                    <a:pt x="646" y="98"/>
                    <a:pt x="649" y="96"/>
                  </a:cubicBezTo>
                  <a:lnTo>
                    <a:pt x="655" y="107"/>
                  </a:lnTo>
                  <a:cubicBezTo>
                    <a:pt x="651" y="110"/>
                    <a:pt x="647" y="112"/>
                    <a:pt x="642" y="113"/>
                  </a:cubicBezTo>
                  <a:cubicBezTo>
                    <a:pt x="638" y="115"/>
                    <a:pt x="633" y="116"/>
                    <a:pt x="628" y="116"/>
                  </a:cubicBezTo>
                  <a:cubicBezTo>
                    <a:pt x="623" y="116"/>
                    <a:pt x="618" y="115"/>
                    <a:pt x="613" y="113"/>
                  </a:cubicBezTo>
                  <a:cubicBezTo>
                    <a:pt x="608" y="111"/>
                    <a:pt x="604" y="108"/>
                    <a:pt x="601" y="105"/>
                  </a:cubicBezTo>
                  <a:cubicBezTo>
                    <a:pt x="597" y="101"/>
                    <a:pt x="595" y="97"/>
                    <a:pt x="593" y="92"/>
                  </a:cubicBezTo>
                  <a:cubicBezTo>
                    <a:pt x="591" y="87"/>
                    <a:pt x="590" y="81"/>
                    <a:pt x="590" y="75"/>
                  </a:cubicBezTo>
                  <a:close/>
                  <a:moveTo>
                    <a:pt x="527" y="93"/>
                  </a:moveTo>
                  <a:cubicBezTo>
                    <a:pt x="531" y="96"/>
                    <a:pt x="534" y="98"/>
                    <a:pt x="538" y="100"/>
                  </a:cubicBezTo>
                  <a:cubicBezTo>
                    <a:pt x="541" y="101"/>
                    <a:pt x="545" y="102"/>
                    <a:pt x="549" y="102"/>
                  </a:cubicBezTo>
                  <a:cubicBezTo>
                    <a:pt x="553" y="102"/>
                    <a:pt x="556" y="101"/>
                    <a:pt x="558" y="99"/>
                  </a:cubicBezTo>
                  <a:cubicBezTo>
                    <a:pt x="560" y="97"/>
                    <a:pt x="561" y="95"/>
                    <a:pt x="561" y="92"/>
                  </a:cubicBezTo>
                  <a:cubicBezTo>
                    <a:pt x="561" y="91"/>
                    <a:pt x="561" y="89"/>
                    <a:pt x="560" y="88"/>
                  </a:cubicBezTo>
                  <a:cubicBezTo>
                    <a:pt x="559" y="87"/>
                    <a:pt x="558" y="86"/>
                    <a:pt x="556" y="85"/>
                  </a:cubicBezTo>
                  <a:cubicBezTo>
                    <a:pt x="554" y="84"/>
                    <a:pt x="553" y="83"/>
                    <a:pt x="551" y="82"/>
                  </a:cubicBezTo>
                  <a:cubicBezTo>
                    <a:pt x="549" y="82"/>
                    <a:pt x="547" y="81"/>
                    <a:pt x="545" y="80"/>
                  </a:cubicBezTo>
                  <a:cubicBezTo>
                    <a:pt x="542" y="79"/>
                    <a:pt x="540" y="78"/>
                    <a:pt x="537" y="77"/>
                  </a:cubicBezTo>
                  <a:cubicBezTo>
                    <a:pt x="534" y="75"/>
                    <a:pt x="532" y="74"/>
                    <a:pt x="530" y="72"/>
                  </a:cubicBezTo>
                  <a:cubicBezTo>
                    <a:pt x="528" y="70"/>
                    <a:pt x="526" y="68"/>
                    <a:pt x="525" y="66"/>
                  </a:cubicBezTo>
                  <a:cubicBezTo>
                    <a:pt x="523" y="63"/>
                    <a:pt x="523" y="61"/>
                    <a:pt x="523" y="57"/>
                  </a:cubicBezTo>
                  <a:cubicBezTo>
                    <a:pt x="523" y="50"/>
                    <a:pt x="525" y="45"/>
                    <a:pt x="530" y="41"/>
                  </a:cubicBezTo>
                  <a:cubicBezTo>
                    <a:pt x="535" y="36"/>
                    <a:pt x="542" y="34"/>
                    <a:pt x="551" y="34"/>
                  </a:cubicBezTo>
                  <a:cubicBezTo>
                    <a:pt x="557" y="34"/>
                    <a:pt x="561" y="35"/>
                    <a:pt x="566" y="37"/>
                  </a:cubicBezTo>
                  <a:cubicBezTo>
                    <a:pt x="570" y="39"/>
                    <a:pt x="574" y="41"/>
                    <a:pt x="577" y="43"/>
                  </a:cubicBezTo>
                  <a:lnTo>
                    <a:pt x="569" y="54"/>
                  </a:lnTo>
                  <a:cubicBezTo>
                    <a:pt x="566" y="52"/>
                    <a:pt x="563" y="51"/>
                    <a:pt x="560" y="50"/>
                  </a:cubicBezTo>
                  <a:cubicBezTo>
                    <a:pt x="557" y="48"/>
                    <a:pt x="555" y="48"/>
                    <a:pt x="551" y="48"/>
                  </a:cubicBezTo>
                  <a:cubicBezTo>
                    <a:pt x="548" y="48"/>
                    <a:pt x="545" y="49"/>
                    <a:pt x="543" y="50"/>
                  </a:cubicBezTo>
                  <a:cubicBezTo>
                    <a:pt x="541" y="52"/>
                    <a:pt x="540" y="54"/>
                    <a:pt x="540" y="56"/>
                  </a:cubicBezTo>
                  <a:cubicBezTo>
                    <a:pt x="540" y="58"/>
                    <a:pt x="541" y="59"/>
                    <a:pt x="541" y="60"/>
                  </a:cubicBezTo>
                  <a:cubicBezTo>
                    <a:pt x="542" y="62"/>
                    <a:pt x="543" y="63"/>
                    <a:pt x="545" y="63"/>
                  </a:cubicBezTo>
                  <a:cubicBezTo>
                    <a:pt x="546" y="64"/>
                    <a:pt x="548" y="65"/>
                    <a:pt x="550" y="66"/>
                  </a:cubicBezTo>
                  <a:cubicBezTo>
                    <a:pt x="552" y="66"/>
                    <a:pt x="554" y="67"/>
                    <a:pt x="556" y="68"/>
                  </a:cubicBezTo>
                  <a:cubicBezTo>
                    <a:pt x="559" y="69"/>
                    <a:pt x="561" y="70"/>
                    <a:pt x="564" y="71"/>
                  </a:cubicBezTo>
                  <a:cubicBezTo>
                    <a:pt x="567" y="72"/>
                    <a:pt x="569" y="74"/>
                    <a:pt x="571" y="76"/>
                  </a:cubicBezTo>
                  <a:cubicBezTo>
                    <a:pt x="574" y="77"/>
                    <a:pt x="575" y="80"/>
                    <a:pt x="577" y="82"/>
                  </a:cubicBezTo>
                  <a:cubicBezTo>
                    <a:pt x="578" y="85"/>
                    <a:pt x="579" y="88"/>
                    <a:pt x="579" y="92"/>
                  </a:cubicBezTo>
                  <a:cubicBezTo>
                    <a:pt x="579" y="95"/>
                    <a:pt x="578" y="98"/>
                    <a:pt x="577" y="101"/>
                  </a:cubicBezTo>
                  <a:cubicBezTo>
                    <a:pt x="575" y="104"/>
                    <a:pt x="573" y="106"/>
                    <a:pt x="571" y="109"/>
                  </a:cubicBezTo>
                  <a:cubicBezTo>
                    <a:pt x="568" y="111"/>
                    <a:pt x="565" y="112"/>
                    <a:pt x="561" y="114"/>
                  </a:cubicBezTo>
                  <a:cubicBezTo>
                    <a:pt x="557" y="115"/>
                    <a:pt x="553" y="116"/>
                    <a:pt x="548" y="116"/>
                  </a:cubicBezTo>
                  <a:cubicBezTo>
                    <a:pt x="543" y="116"/>
                    <a:pt x="538" y="115"/>
                    <a:pt x="532" y="113"/>
                  </a:cubicBezTo>
                  <a:cubicBezTo>
                    <a:pt x="527" y="110"/>
                    <a:pt x="523" y="108"/>
                    <a:pt x="519" y="105"/>
                  </a:cubicBezTo>
                  <a:lnTo>
                    <a:pt x="527" y="93"/>
                  </a:lnTo>
                  <a:close/>
                  <a:moveTo>
                    <a:pt x="459" y="93"/>
                  </a:moveTo>
                  <a:cubicBezTo>
                    <a:pt x="463" y="96"/>
                    <a:pt x="466" y="98"/>
                    <a:pt x="470" y="100"/>
                  </a:cubicBezTo>
                  <a:cubicBezTo>
                    <a:pt x="473" y="101"/>
                    <a:pt x="477" y="102"/>
                    <a:pt x="481" y="102"/>
                  </a:cubicBezTo>
                  <a:cubicBezTo>
                    <a:pt x="485" y="102"/>
                    <a:pt x="488" y="101"/>
                    <a:pt x="490" y="99"/>
                  </a:cubicBezTo>
                  <a:cubicBezTo>
                    <a:pt x="492" y="97"/>
                    <a:pt x="493" y="95"/>
                    <a:pt x="493" y="92"/>
                  </a:cubicBezTo>
                  <a:cubicBezTo>
                    <a:pt x="493" y="91"/>
                    <a:pt x="493" y="89"/>
                    <a:pt x="492" y="88"/>
                  </a:cubicBezTo>
                  <a:cubicBezTo>
                    <a:pt x="491" y="87"/>
                    <a:pt x="489" y="86"/>
                    <a:pt x="488" y="85"/>
                  </a:cubicBezTo>
                  <a:cubicBezTo>
                    <a:pt x="486" y="84"/>
                    <a:pt x="484" y="83"/>
                    <a:pt x="482" y="82"/>
                  </a:cubicBezTo>
                  <a:cubicBezTo>
                    <a:pt x="480" y="82"/>
                    <a:pt x="478" y="81"/>
                    <a:pt x="476" y="80"/>
                  </a:cubicBezTo>
                  <a:cubicBezTo>
                    <a:pt x="474" y="79"/>
                    <a:pt x="471" y="78"/>
                    <a:pt x="469" y="77"/>
                  </a:cubicBezTo>
                  <a:cubicBezTo>
                    <a:pt x="466" y="75"/>
                    <a:pt x="464" y="74"/>
                    <a:pt x="462" y="72"/>
                  </a:cubicBezTo>
                  <a:cubicBezTo>
                    <a:pt x="460" y="70"/>
                    <a:pt x="458" y="68"/>
                    <a:pt x="457" y="66"/>
                  </a:cubicBezTo>
                  <a:cubicBezTo>
                    <a:pt x="455" y="63"/>
                    <a:pt x="455" y="61"/>
                    <a:pt x="455" y="57"/>
                  </a:cubicBezTo>
                  <a:cubicBezTo>
                    <a:pt x="455" y="50"/>
                    <a:pt x="457" y="45"/>
                    <a:pt x="462" y="41"/>
                  </a:cubicBezTo>
                  <a:cubicBezTo>
                    <a:pt x="467" y="36"/>
                    <a:pt x="474" y="34"/>
                    <a:pt x="483" y="34"/>
                  </a:cubicBezTo>
                  <a:cubicBezTo>
                    <a:pt x="488" y="34"/>
                    <a:pt x="493" y="35"/>
                    <a:pt x="497" y="37"/>
                  </a:cubicBezTo>
                  <a:cubicBezTo>
                    <a:pt x="502" y="39"/>
                    <a:pt x="506" y="41"/>
                    <a:pt x="509" y="43"/>
                  </a:cubicBezTo>
                  <a:lnTo>
                    <a:pt x="500" y="54"/>
                  </a:lnTo>
                  <a:cubicBezTo>
                    <a:pt x="498" y="52"/>
                    <a:pt x="495" y="51"/>
                    <a:pt x="492" y="50"/>
                  </a:cubicBezTo>
                  <a:cubicBezTo>
                    <a:pt x="489" y="48"/>
                    <a:pt x="486" y="48"/>
                    <a:pt x="483" y="48"/>
                  </a:cubicBezTo>
                  <a:cubicBezTo>
                    <a:pt x="479" y="48"/>
                    <a:pt x="476" y="49"/>
                    <a:pt x="475" y="50"/>
                  </a:cubicBezTo>
                  <a:cubicBezTo>
                    <a:pt x="473" y="52"/>
                    <a:pt x="472" y="54"/>
                    <a:pt x="472" y="56"/>
                  </a:cubicBezTo>
                  <a:cubicBezTo>
                    <a:pt x="472" y="58"/>
                    <a:pt x="472" y="59"/>
                    <a:pt x="473" y="60"/>
                  </a:cubicBezTo>
                  <a:cubicBezTo>
                    <a:pt x="474" y="62"/>
                    <a:pt x="475" y="63"/>
                    <a:pt x="477" y="63"/>
                  </a:cubicBezTo>
                  <a:cubicBezTo>
                    <a:pt x="478" y="64"/>
                    <a:pt x="480" y="65"/>
                    <a:pt x="482" y="66"/>
                  </a:cubicBezTo>
                  <a:cubicBezTo>
                    <a:pt x="484" y="66"/>
                    <a:pt x="486" y="67"/>
                    <a:pt x="488" y="68"/>
                  </a:cubicBezTo>
                  <a:cubicBezTo>
                    <a:pt x="491" y="69"/>
                    <a:pt x="493" y="70"/>
                    <a:pt x="496" y="71"/>
                  </a:cubicBezTo>
                  <a:cubicBezTo>
                    <a:pt x="499" y="72"/>
                    <a:pt x="501" y="74"/>
                    <a:pt x="503" y="76"/>
                  </a:cubicBezTo>
                  <a:cubicBezTo>
                    <a:pt x="505" y="77"/>
                    <a:pt x="507" y="80"/>
                    <a:pt x="508" y="82"/>
                  </a:cubicBezTo>
                  <a:cubicBezTo>
                    <a:pt x="510" y="85"/>
                    <a:pt x="510" y="88"/>
                    <a:pt x="510" y="92"/>
                  </a:cubicBezTo>
                  <a:cubicBezTo>
                    <a:pt x="510" y="95"/>
                    <a:pt x="510" y="98"/>
                    <a:pt x="508" y="101"/>
                  </a:cubicBezTo>
                  <a:cubicBezTo>
                    <a:pt x="507" y="104"/>
                    <a:pt x="505" y="106"/>
                    <a:pt x="503" y="109"/>
                  </a:cubicBezTo>
                  <a:cubicBezTo>
                    <a:pt x="500" y="111"/>
                    <a:pt x="497" y="112"/>
                    <a:pt x="493" y="114"/>
                  </a:cubicBezTo>
                  <a:cubicBezTo>
                    <a:pt x="489" y="115"/>
                    <a:pt x="485" y="116"/>
                    <a:pt x="480" y="116"/>
                  </a:cubicBezTo>
                  <a:cubicBezTo>
                    <a:pt x="475" y="116"/>
                    <a:pt x="469" y="115"/>
                    <a:pt x="464" y="113"/>
                  </a:cubicBezTo>
                  <a:cubicBezTo>
                    <a:pt x="459" y="110"/>
                    <a:pt x="454" y="108"/>
                    <a:pt x="451" y="105"/>
                  </a:cubicBezTo>
                  <a:lnTo>
                    <a:pt x="459" y="93"/>
                  </a:lnTo>
                  <a:close/>
                  <a:moveTo>
                    <a:pt x="390" y="91"/>
                  </a:moveTo>
                  <a:cubicBezTo>
                    <a:pt x="390" y="95"/>
                    <a:pt x="391" y="97"/>
                    <a:pt x="393" y="99"/>
                  </a:cubicBezTo>
                  <a:cubicBezTo>
                    <a:pt x="395" y="101"/>
                    <a:pt x="398" y="101"/>
                    <a:pt x="401" y="101"/>
                  </a:cubicBezTo>
                  <a:cubicBezTo>
                    <a:pt x="404" y="101"/>
                    <a:pt x="407" y="101"/>
                    <a:pt x="410" y="99"/>
                  </a:cubicBezTo>
                  <a:cubicBezTo>
                    <a:pt x="412" y="98"/>
                    <a:pt x="415" y="96"/>
                    <a:pt x="418" y="93"/>
                  </a:cubicBezTo>
                  <a:lnTo>
                    <a:pt x="418" y="75"/>
                  </a:lnTo>
                  <a:cubicBezTo>
                    <a:pt x="413" y="76"/>
                    <a:pt x="408" y="77"/>
                    <a:pt x="405" y="78"/>
                  </a:cubicBezTo>
                  <a:cubicBezTo>
                    <a:pt x="401" y="79"/>
                    <a:pt x="398" y="80"/>
                    <a:pt x="396" y="81"/>
                  </a:cubicBezTo>
                  <a:cubicBezTo>
                    <a:pt x="394" y="83"/>
                    <a:pt x="392" y="84"/>
                    <a:pt x="391" y="86"/>
                  </a:cubicBezTo>
                  <a:cubicBezTo>
                    <a:pt x="390" y="88"/>
                    <a:pt x="390" y="89"/>
                    <a:pt x="390" y="91"/>
                  </a:cubicBezTo>
                  <a:close/>
                  <a:moveTo>
                    <a:pt x="372" y="93"/>
                  </a:moveTo>
                  <a:cubicBezTo>
                    <a:pt x="372" y="84"/>
                    <a:pt x="376" y="78"/>
                    <a:pt x="383" y="73"/>
                  </a:cubicBezTo>
                  <a:cubicBezTo>
                    <a:pt x="390" y="69"/>
                    <a:pt x="402" y="66"/>
                    <a:pt x="418" y="64"/>
                  </a:cubicBezTo>
                  <a:cubicBezTo>
                    <a:pt x="418" y="62"/>
                    <a:pt x="418" y="60"/>
                    <a:pt x="417" y="58"/>
                  </a:cubicBezTo>
                  <a:cubicBezTo>
                    <a:pt x="417" y="56"/>
                    <a:pt x="416" y="55"/>
                    <a:pt x="415" y="53"/>
                  </a:cubicBezTo>
                  <a:cubicBezTo>
                    <a:pt x="414" y="52"/>
                    <a:pt x="412" y="51"/>
                    <a:pt x="410" y="50"/>
                  </a:cubicBezTo>
                  <a:cubicBezTo>
                    <a:pt x="409" y="49"/>
                    <a:pt x="407" y="49"/>
                    <a:pt x="404" y="49"/>
                  </a:cubicBezTo>
                  <a:cubicBezTo>
                    <a:pt x="400" y="49"/>
                    <a:pt x="396" y="50"/>
                    <a:pt x="393" y="51"/>
                  </a:cubicBezTo>
                  <a:cubicBezTo>
                    <a:pt x="389" y="52"/>
                    <a:pt x="385" y="54"/>
                    <a:pt x="382" y="56"/>
                  </a:cubicBezTo>
                  <a:lnTo>
                    <a:pt x="375" y="44"/>
                  </a:lnTo>
                  <a:cubicBezTo>
                    <a:pt x="380" y="41"/>
                    <a:pt x="385" y="39"/>
                    <a:pt x="390" y="37"/>
                  </a:cubicBezTo>
                  <a:cubicBezTo>
                    <a:pt x="395" y="35"/>
                    <a:pt x="401" y="34"/>
                    <a:pt x="407" y="34"/>
                  </a:cubicBezTo>
                  <a:cubicBezTo>
                    <a:pt x="417" y="34"/>
                    <a:pt x="424" y="37"/>
                    <a:pt x="429" y="43"/>
                  </a:cubicBezTo>
                  <a:cubicBezTo>
                    <a:pt x="434" y="48"/>
                    <a:pt x="436" y="57"/>
                    <a:pt x="436" y="68"/>
                  </a:cubicBezTo>
                  <a:lnTo>
                    <a:pt x="436" y="114"/>
                  </a:lnTo>
                  <a:lnTo>
                    <a:pt x="421" y="114"/>
                  </a:lnTo>
                  <a:lnTo>
                    <a:pt x="420" y="105"/>
                  </a:lnTo>
                  <a:lnTo>
                    <a:pt x="419" y="105"/>
                  </a:lnTo>
                  <a:cubicBezTo>
                    <a:pt x="416" y="108"/>
                    <a:pt x="412" y="111"/>
                    <a:pt x="408" y="113"/>
                  </a:cubicBezTo>
                  <a:cubicBezTo>
                    <a:pt x="404" y="115"/>
                    <a:pt x="400" y="116"/>
                    <a:pt x="395" y="116"/>
                  </a:cubicBezTo>
                  <a:cubicBezTo>
                    <a:pt x="388" y="116"/>
                    <a:pt x="383" y="114"/>
                    <a:pt x="379" y="109"/>
                  </a:cubicBezTo>
                  <a:cubicBezTo>
                    <a:pt x="374" y="105"/>
                    <a:pt x="372" y="100"/>
                    <a:pt x="372" y="93"/>
                  </a:cubicBezTo>
                  <a:close/>
                  <a:moveTo>
                    <a:pt x="242" y="10"/>
                  </a:moveTo>
                  <a:lnTo>
                    <a:pt x="261" y="10"/>
                  </a:lnTo>
                  <a:lnTo>
                    <a:pt x="270" y="62"/>
                  </a:lnTo>
                  <a:cubicBezTo>
                    <a:pt x="271" y="68"/>
                    <a:pt x="272" y="74"/>
                    <a:pt x="273" y="79"/>
                  </a:cubicBezTo>
                  <a:cubicBezTo>
                    <a:pt x="274" y="85"/>
                    <a:pt x="274" y="90"/>
                    <a:pt x="275" y="95"/>
                  </a:cubicBezTo>
                  <a:lnTo>
                    <a:pt x="276" y="95"/>
                  </a:lnTo>
                  <a:cubicBezTo>
                    <a:pt x="277" y="90"/>
                    <a:pt x="278" y="84"/>
                    <a:pt x="279" y="79"/>
                  </a:cubicBezTo>
                  <a:cubicBezTo>
                    <a:pt x="280" y="73"/>
                    <a:pt x="282" y="68"/>
                    <a:pt x="283" y="62"/>
                  </a:cubicBezTo>
                  <a:lnTo>
                    <a:pt x="295" y="10"/>
                  </a:lnTo>
                  <a:lnTo>
                    <a:pt x="311" y="10"/>
                  </a:lnTo>
                  <a:lnTo>
                    <a:pt x="324" y="62"/>
                  </a:lnTo>
                  <a:cubicBezTo>
                    <a:pt x="325" y="68"/>
                    <a:pt x="326" y="73"/>
                    <a:pt x="328" y="79"/>
                  </a:cubicBezTo>
                  <a:cubicBezTo>
                    <a:pt x="329" y="84"/>
                    <a:pt x="330" y="90"/>
                    <a:pt x="331" y="95"/>
                  </a:cubicBezTo>
                  <a:lnTo>
                    <a:pt x="332" y="95"/>
                  </a:lnTo>
                  <a:cubicBezTo>
                    <a:pt x="333" y="90"/>
                    <a:pt x="333" y="84"/>
                    <a:pt x="334" y="79"/>
                  </a:cubicBezTo>
                  <a:cubicBezTo>
                    <a:pt x="335" y="73"/>
                    <a:pt x="336" y="68"/>
                    <a:pt x="337" y="62"/>
                  </a:cubicBezTo>
                  <a:lnTo>
                    <a:pt x="346" y="10"/>
                  </a:lnTo>
                  <a:lnTo>
                    <a:pt x="363" y="10"/>
                  </a:lnTo>
                  <a:lnTo>
                    <a:pt x="343" y="114"/>
                  </a:lnTo>
                  <a:lnTo>
                    <a:pt x="321" y="114"/>
                  </a:lnTo>
                  <a:lnTo>
                    <a:pt x="308" y="59"/>
                  </a:lnTo>
                  <a:cubicBezTo>
                    <a:pt x="307" y="55"/>
                    <a:pt x="306" y="51"/>
                    <a:pt x="305" y="47"/>
                  </a:cubicBezTo>
                  <a:cubicBezTo>
                    <a:pt x="305" y="43"/>
                    <a:pt x="304" y="39"/>
                    <a:pt x="303" y="35"/>
                  </a:cubicBezTo>
                  <a:lnTo>
                    <a:pt x="303" y="35"/>
                  </a:lnTo>
                  <a:cubicBezTo>
                    <a:pt x="302" y="39"/>
                    <a:pt x="301" y="43"/>
                    <a:pt x="300" y="47"/>
                  </a:cubicBezTo>
                  <a:cubicBezTo>
                    <a:pt x="299" y="51"/>
                    <a:pt x="299" y="55"/>
                    <a:pt x="298" y="59"/>
                  </a:cubicBezTo>
                  <a:lnTo>
                    <a:pt x="285" y="114"/>
                  </a:lnTo>
                  <a:lnTo>
                    <a:pt x="263" y="114"/>
                  </a:lnTo>
                  <a:lnTo>
                    <a:pt x="242" y="10"/>
                  </a:lnTo>
                  <a:close/>
                  <a:moveTo>
                    <a:pt x="185" y="68"/>
                  </a:moveTo>
                  <a:cubicBezTo>
                    <a:pt x="185" y="62"/>
                    <a:pt x="184" y="57"/>
                    <a:pt x="182" y="53"/>
                  </a:cubicBezTo>
                  <a:cubicBezTo>
                    <a:pt x="179" y="50"/>
                    <a:pt x="175" y="48"/>
                    <a:pt x="170" y="48"/>
                  </a:cubicBezTo>
                  <a:cubicBezTo>
                    <a:pt x="165" y="48"/>
                    <a:pt x="161" y="50"/>
                    <a:pt x="157" y="53"/>
                  </a:cubicBezTo>
                  <a:cubicBezTo>
                    <a:pt x="154" y="56"/>
                    <a:pt x="152" y="61"/>
                    <a:pt x="151" y="68"/>
                  </a:cubicBezTo>
                  <a:lnTo>
                    <a:pt x="185" y="68"/>
                  </a:lnTo>
                  <a:close/>
                  <a:moveTo>
                    <a:pt x="133" y="75"/>
                  </a:moveTo>
                  <a:cubicBezTo>
                    <a:pt x="133" y="69"/>
                    <a:pt x="134" y="63"/>
                    <a:pt x="136" y="58"/>
                  </a:cubicBezTo>
                  <a:cubicBezTo>
                    <a:pt x="138" y="53"/>
                    <a:pt x="141" y="48"/>
                    <a:pt x="144" y="45"/>
                  </a:cubicBezTo>
                  <a:cubicBezTo>
                    <a:pt x="148" y="41"/>
                    <a:pt x="151" y="39"/>
                    <a:pt x="156" y="37"/>
                  </a:cubicBezTo>
                  <a:cubicBezTo>
                    <a:pt x="160" y="35"/>
                    <a:pt x="165" y="34"/>
                    <a:pt x="169" y="34"/>
                  </a:cubicBezTo>
                  <a:cubicBezTo>
                    <a:pt x="174" y="34"/>
                    <a:pt x="179" y="35"/>
                    <a:pt x="183" y="37"/>
                  </a:cubicBezTo>
                  <a:cubicBezTo>
                    <a:pt x="187" y="39"/>
                    <a:pt x="190" y="41"/>
                    <a:pt x="193" y="44"/>
                  </a:cubicBezTo>
                  <a:cubicBezTo>
                    <a:pt x="196" y="48"/>
                    <a:pt x="198" y="52"/>
                    <a:pt x="199" y="56"/>
                  </a:cubicBezTo>
                  <a:cubicBezTo>
                    <a:pt x="201" y="61"/>
                    <a:pt x="201" y="66"/>
                    <a:pt x="201" y="71"/>
                  </a:cubicBezTo>
                  <a:cubicBezTo>
                    <a:pt x="201" y="75"/>
                    <a:pt x="201" y="77"/>
                    <a:pt x="200" y="79"/>
                  </a:cubicBezTo>
                  <a:lnTo>
                    <a:pt x="151" y="79"/>
                  </a:lnTo>
                  <a:cubicBezTo>
                    <a:pt x="152" y="87"/>
                    <a:pt x="154" y="92"/>
                    <a:pt x="158" y="96"/>
                  </a:cubicBezTo>
                  <a:cubicBezTo>
                    <a:pt x="162" y="100"/>
                    <a:pt x="168" y="101"/>
                    <a:pt x="174" y="101"/>
                  </a:cubicBezTo>
                  <a:cubicBezTo>
                    <a:pt x="177" y="101"/>
                    <a:pt x="181" y="101"/>
                    <a:pt x="183" y="100"/>
                  </a:cubicBezTo>
                  <a:cubicBezTo>
                    <a:pt x="186" y="99"/>
                    <a:pt x="189" y="98"/>
                    <a:pt x="192" y="96"/>
                  </a:cubicBezTo>
                  <a:lnTo>
                    <a:pt x="198" y="107"/>
                  </a:lnTo>
                  <a:cubicBezTo>
                    <a:pt x="195" y="110"/>
                    <a:pt x="190" y="112"/>
                    <a:pt x="186" y="113"/>
                  </a:cubicBezTo>
                  <a:cubicBezTo>
                    <a:pt x="181" y="115"/>
                    <a:pt x="177" y="116"/>
                    <a:pt x="172" y="116"/>
                  </a:cubicBezTo>
                  <a:cubicBezTo>
                    <a:pt x="166" y="116"/>
                    <a:pt x="161" y="115"/>
                    <a:pt x="157" y="113"/>
                  </a:cubicBezTo>
                  <a:cubicBezTo>
                    <a:pt x="152" y="111"/>
                    <a:pt x="148" y="108"/>
                    <a:pt x="144" y="105"/>
                  </a:cubicBezTo>
                  <a:cubicBezTo>
                    <a:pt x="141" y="101"/>
                    <a:pt x="138" y="97"/>
                    <a:pt x="136" y="92"/>
                  </a:cubicBezTo>
                  <a:cubicBezTo>
                    <a:pt x="134" y="87"/>
                    <a:pt x="133" y="81"/>
                    <a:pt x="133" y="75"/>
                  </a:cubicBezTo>
                  <a:close/>
                  <a:moveTo>
                    <a:pt x="97" y="36"/>
                  </a:moveTo>
                  <a:lnTo>
                    <a:pt x="115" y="36"/>
                  </a:lnTo>
                  <a:lnTo>
                    <a:pt x="115" y="114"/>
                  </a:lnTo>
                  <a:lnTo>
                    <a:pt x="97" y="114"/>
                  </a:lnTo>
                  <a:lnTo>
                    <a:pt x="97" y="36"/>
                  </a:lnTo>
                  <a:close/>
                  <a:moveTo>
                    <a:pt x="106" y="22"/>
                  </a:moveTo>
                  <a:cubicBezTo>
                    <a:pt x="103" y="22"/>
                    <a:pt x="100" y="21"/>
                    <a:pt x="98" y="19"/>
                  </a:cubicBezTo>
                  <a:cubicBezTo>
                    <a:pt x="96" y="18"/>
                    <a:pt x="95" y="15"/>
                    <a:pt x="95" y="12"/>
                  </a:cubicBezTo>
                  <a:cubicBezTo>
                    <a:pt x="95" y="9"/>
                    <a:pt x="96" y="6"/>
                    <a:pt x="98" y="5"/>
                  </a:cubicBezTo>
                  <a:cubicBezTo>
                    <a:pt x="100" y="3"/>
                    <a:pt x="103" y="2"/>
                    <a:pt x="106" y="2"/>
                  </a:cubicBezTo>
                  <a:cubicBezTo>
                    <a:pt x="109" y="2"/>
                    <a:pt x="112" y="3"/>
                    <a:pt x="114" y="5"/>
                  </a:cubicBezTo>
                  <a:cubicBezTo>
                    <a:pt x="116" y="6"/>
                    <a:pt x="117" y="9"/>
                    <a:pt x="117" y="12"/>
                  </a:cubicBezTo>
                  <a:cubicBezTo>
                    <a:pt x="117" y="15"/>
                    <a:pt x="116" y="18"/>
                    <a:pt x="114" y="19"/>
                  </a:cubicBezTo>
                  <a:cubicBezTo>
                    <a:pt x="112" y="21"/>
                    <a:pt x="109" y="22"/>
                    <a:pt x="106" y="22"/>
                  </a:cubicBezTo>
                  <a:close/>
                  <a:moveTo>
                    <a:pt x="26" y="99"/>
                  </a:moveTo>
                  <a:cubicBezTo>
                    <a:pt x="37" y="99"/>
                    <a:pt x="45" y="96"/>
                    <a:pt x="50" y="90"/>
                  </a:cubicBezTo>
                  <a:cubicBezTo>
                    <a:pt x="56" y="84"/>
                    <a:pt x="59" y="74"/>
                    <a:pt x="59" y="61"/>
                  </a:cubicBezTo>
                  <a:cubicBezTo>
                    <a:pt x="59" y="49"/>
                    <a:pt x="56" y="40"/>
                    <a:pt x="50" y="34"/>
                  </a:cubicBezTo>
                  <a:cubicBezTo>
                    <a:pt x="44" y="28"/>
                    <a:pt x="36" y="25"/>
                    <a:pt x="26" y="25"/>
                  </a:cubicBezTo>
                  <a:lnTo>
                    <a:pt x="18" y="25"/>
                  </a:lnTo>
                  <a:lnTo>
                    <a:pt x="18" y="99"/>
                  </a:lnTo>
                  <a:lnTo>
                    <a:pt x="26" y="99"/>
                  </a:lnTo>
                  <a:close/>
                  <a:moveTo>
                    <a:pt x="0" y="10"/>
                  </a:moveTo>
                  <a:lnTo>
                    <a:pt x="27" y="10"/>
                  </a:lnTo>
                  <a:cubicBezTo>
                    <a:pt x="43" y="10"/>
                    <a:pt x="55" y="14"/>
                    <a:pt x="64" y="23"/>
                  </a:cubicBezTo>
                  <a:cubicBezTo>
                    <a:pt x="73" y="32"/>
                    <a:pt x="78" y="44"/>
                    <a:pt x="78" y="61"/>
                  </a:cubicBezTo>
                  <a:cubicBezTo>
                    <a:pt x="78" y="70"/>
                    <a:pt x="76" y="78"/>
                    <a:pt x="74" y="84"/>
                  </a:cubicBezTo>
                  <a:cubicBezTo>
                    <a:pt x="72" y="91"/>
                    <a:pt x="69" y="96"/>
                    <a:pt x="64" y="100"/>
                  </a:cubicBezTo>
                  <a:cubicBezTo>
                    <a:pt x="60" y="105"/>
                    <a:pt x="55" y="108"/>
                    <a:pt x="49" y="110"/>
                  </a:cubicBezTo>
                  <a:cubicBezTo>
                    <a:pt x="43" y="113"/>
                    <a:pt x="36" y="114"/>
                    <a:pt x="28" y="114"/>
                  </a:cubicBezTo>
                  <a:lnTo>
                    <a:pt x="0" y="114"/>
                  </a:lnTo>
                  <a:lnTo>
                    <a:pt x="0" y="1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66">
              <a:extLst>
                <a:ext uri="{FF2B5EF4-FFF2-40B4-BE49-F238E27FC236}">
                  <a16:creationId xmlns:a16="http://schemas.microsoft.com/office/drawing/2014/main" id="{FDEC9A20-E958-4C51-B0A1-18F9265E78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1165" y="2208066"/>
              <a:ext cx="17499" cy="89084"/>
            </a:xfrm>
            <a:custGeom>
              <a:avLst/>
              <a:gdLst>
                <a:gd name="T0" fmla="*/ 2 w 22"/>
                <a:gd name="T1" fmla="*/ 34 h 112"/>
                <a:gd name="T2" fmla="*/ 20 w 22"/>
                <a:gd name="T3" fmla="*/ 34 h 112"/>
                <a:gd name="T4" fmla="*/ 20 w 22"/>
                <a:gd name="T5" fmla="*/ 112 h 112"/>
                <a:gd name="T6" fmla="*/ 2 w 22"/>
                <a:gd name="T7" fmla="*/ 112 h 112"/>
                <a:gd name="T8" fmla="*/ 2 w 22"/>
                <a:gd name="T9" fmla="*/ 34 h 112"/>
                <a:gd name="T10" fmla="*/ 11 w 22"/>
                <a:gd name="T11" fmla="*/ 21 h 112"/>
                <a:gd name="T12" fmla="*/ 3 w 22"/>
                <a:gd name="T13" fmla="*/ 18 h 112"/>
                <a:gd name="T14" fmla="*/ 0 w 22"/>
                <a:gd name="T15" fmla="*/ 10 h 112"/>
                <a:gd name="T16" fmla="*/ 3 w 22"/>
                <a:gd name="T17" fmla="*/ 3 h 112"/>
                <a:gd name="T18" fmla="*/ 11 w 22"/>
                <a:gd name="T19" fmla="*/ 0 h 112"/>
                <a:gd name="T20" fmla="*/ 19 w 22"/>
                <a:gd name="T21" fmla="*/ 3 h 112"/>
                <a:gd name="T22" fmla="*/ 22 w 22"/>
                <a:gd name="T23" fmla="*/ 10 h 112"/>
                <a:gd name="T24" fmla="*/ 19 w 22"/>
                <a:gd name="T25" fmla="*/ 18 h 112"/>
                <a:gd name="T26" fmla="*/ 11 w 22"/>
                <a:gd name="T27" fmla="*/ 2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112">
                  <a:moveTo>
                    <a:pt x="2" y="34"/>
                  </a:moveTo>
                  <a:lnTo>
                    <a:pt x="20" y="34"/>
                  </a:lnTo>
                  <a:lnTo>
                    <a:pt x="20" y="112"/>
                  </a:lnTo>
                  <a:lnTo>
                    <a:pt x="2" y="112"/>
                  </a:lnTo>
                  <a:lnTo>
                    <a:pt x="2" y="34"/>
                  </a:lnTo>
                  <a:close/>
                  <a:moveTo>
                    <a:pt x="11" y="21"/>
                  </a:moveTo>
                  <a:cubicBezTo>
                    <a:pt x="8" y="21"/>
                    <a:pt x="5" y="20"/>
                    <a:pt x="3" y="18"/>
                  </a:cubicBezTo>
                  <a:cubicBezTo>
                    <a:pt x="1" y="16"/>
                    <a:pt x="0" y="13"/>
                    <a:pt x="0" y="10"/>
                  </a:cubicBezTo>
                  <a:cubicBezTo>
                    <a:pt x="0" y="7"/>
                    <a:pt x="1" y="5"/>
                    <a:pt x="3" y="3"/>
                  </a:cubicBezTo>
                  <a:cubicBezTo>
                    <a:pt x="5" y="1"/>
                    <a:pt x="8" y="0"/>
                    <a:pt x="11" y="0"/>
                  </a:cubicBezTo>
                  <a:cubicBezTo>
                    <a:pt x="14" y="0"/>
                    <a:pt x="17" y="1"/>
                    <a:pt x="19" y="3"/>
                  </a:cubicBezTo>
                  <a:cubicBezTo>
                    <a:pt x="21" y="5"/>
                    <a:pt x="22" y="7"/>
                    <a:pt x="22" y="10"/>
                  </a:cubicBezTo>
                  <a:cubicBezTo>
                    <a:pt x="22" y="13"/>
                    <a:pt x="21" y="16"/>
                    <a:pt x="19" y="18"/>
                  </a:cubicBezTo>
                  <a:cubicBezTo>
                    <a:pt x="17" y="20"/>
                    <a:pt x="14" y="21"/>
                    <a:pt x="11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67">
              <a:extLst>
                <a:ext uri="{FF2B5EF4-FFF2-40B4-BE49-F238E27FC236}">
                  <a16:creationId xmlns:a16="http://schemas.microsoft.com/office/drawing/2014/main" id="{47902728-83F2-4DFA-AD3A-C24223B100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6163" y="2233519"/>
              <a:ext cx="89084" cy="63632"/>
            </a:xfrm>
            <a:custGeom>
              <a:avLst/>
              <a:gdLst>
                <a:gd name="T0" fmla="*/ 0 w 111"/>
                <a:gd name="T1" fmla="*/ 2 h 80"/>
                <a:gd name="T2" fmla="*/ 15 w 111"/>
                <a:gd name="T3" fmla="*/ 2 h 80"/>
                <a:gd name="T4" fmla="*/ 16 w 111"/>
                <a:gd name="T5" fmla="*/ 13 h 80"/>
                <a:gd name="T6" fmla="*/ 17 w 111"/>
                <a:gd name="T7" fmla="*/ 13 h 80"/>
                <a:gd name="T8" fmla="*/ 28 w 111"/>
                <a:gd name="T9" fmla="*/ 4 h 80"/>
                <a:gd name="T10" fmla="*/ 41 w 111"/>
                <a:gd name="T11" fmla="*/ 0 h 80"/>
                <a:gd name="T12" fmla="*/ 54 w 111"/>
                <a:gd name="T13" fmla="*/ 4 h 80"/>
                <a:gd name="T14" fmla="*/ 62 w 111"/>
                <a:gd name="T15" fmla="*/ 14 h 80"/>
                <a:gd name="T16" fmla="*/ 74 w 111"/>
                <a:gd name="T17" fmla="*/ 4 h 80"/>
                <a:gd name="T18" fmla="*/ 87 w 111"/>
                <a:gd name="T19" fmla="*/ 0 h 80"/>
                <a:gd name="T20" fmla="*/ 106 w 111"/>
                <a:gd name="T21" fmla="*/ 8 h 80"/>
                <a:gd name="T22" fmla="*/ 111 w 111"/>
                <a:gd name="T23" fmla="*/ 31 h 80"/>
                <a:gd name="T24" fmla="*/ 111 w 111"/>
                <a:gd name="T25" fmla="*/ 80 h 80"/>
                <a:gd name="T26" fmla="*/ 93 w 111"/>
                <a:gd name="T27" fmla="*/ 80 h 80"/>
                <a:gd name="T28" fmla="*/ 93 w 111"/>
                <a:gd name="T29" fmla="*/ 34 h 80"/>
                <a:gd name="T30" fmla="*/ 90 w 111"/>
                <a:gd name="T31" fmla="*/ 20 h 80"/>
                <a:gd name="T32" fmla="*/ 81 w 111"/>
                <a:gd name="T33" fmla="*/ 16 h 80"/>
                <a:gd name="T34" fmla="*/ 65 w 111"/>
                <a:gd name="T35" fmla="*/ 26 h 80"/>
                <a:gd name="T36" fmla="*/ 65 w 111"/>
                <a:gd name="T37" fmla="*/ 80 h 80"/>
                <a:gd name="T38" fmla="*/ 47 w 111"/>
                <a:gd name="T39" fmla="*/ 80 h 80"/>
                <a:gd name="T40" fmla="*/ 47 w 111"/>
                <a:gd name="T41" fmla="*/ 34 h 80"/>
                <a:gd name="T42" fmla="*/ 44 w 111"/>
                <a:gd name="T43" fmla="*/ 20 h 80"/>
                <a:gd name="T44" fmla="*/ 35 w 111"/>
                <a:gd name="T45" fmla="*/ 16 h 80"/>
                <a:gd name="T46" fmla="*/ 18 w 111"/>
                <a:gd name="T47" fmla="*/ 26 h 80"/>
                <a:gd name="T48" fmla="*/ 18 w 111"/>
                <a:gd name="T49" fmla="*/ 80 h 80"/>
                <a:gd name="T50" fmla="*/ 0 w 111"/>
                <a:gd name="T51" fmla="*/ 80 h 80"/>
                <a:gd name="T52" fmla="*/ 0 w 111"/>
                <a:gd name="T53" fmla="*/ 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1" h="80">
                  <a:moveTo>
                    <a:pt x="0" y="2"/>
                  </a:moveTo>
                  <a:lnTo>
                    <a:pt x="15" y="2"/>
                  </a:lnTo>
                  <a:lnTo>
                    <a:pt x="16" y="13"/>
                  </a:lnTo>
                  <a:lnTo>
                    <a:pt x="17" y="13"/>
                  </a:lnTo>
                  <a:cubicBezTo>
                    <a:pt x="20" y="9"/>
                    <a:pt x="24" y="6"/>
                    <a:pt x="28" y="4"/>
                  </a:cubicBezTo>
                  <a:cubicBezTo>
                    <a:pt x="32" y="2"/>
                    <a:pt x="36" y="0"/>
                    <a:pt x="41" y="0"/>
                  </a:cubicBezTo>
                  <a:cubicBezTo>
                    <a:pt x="46" y="0"/>
                    <a:pt x="51" y="2"/>
                    <a:pt x="54" y="4"/>
                  </a:cubicBezTo>
                  <a:cubicBezTo>
                    <a:pt x="58" y="6"/>
                    <a:pt x="61" y="10"/>
                    <a:pt x="62" y="14"/>
                  </a:cubicBezTo>
                  <a:cubicBezTo>
                    <a:pt x="66" y="10"/>
                    <a:pt x="70" y="7"/>
                    <a:pt x="74" y="4"/>
                  </a:cubicBezTo>
                  <a:cubicBezTo>
                    <a:pt x="78" y="2"/>
                    <a:pt x="82" y="0"/>
                    <a:pt x="87" y="0"/>
                  </a:cubicBezTo>
                  <a:cubicBezTo>
                    <a:pt x="96" y="0"/>
                    <a:pt x="102" y="3"/>
                    <a:pt x="106" y="8"/>
                  </a:cubicBezTo>
                  <a:cubicBezTo>
                    <a:pt x="109" y="14"/>
                    <a:pt x="111" y="21"/>
                    <a:pt x="111" y="31"/>
                  </a:cubicBezTo>
                  <a:lnTo>
                    <a:pt x="111" y="80"/>
                  </a:lnTo>
                  <a:lnTo>
                    <a:pt x="93" y="80"/>
                  </a:lnTo>
                  <a:lnTo>
                    <a:pt x="93" y="34"/>
                  </a:lnTo>
                  <a:cubicBezTo>
                    <a:pt x="93" y="27"/>
                    <a:pt x="92" y="23"/>
                    <a:pt x="90" y="20"/>
                  </a:cubicBezTo>
                  <a:cubicBezTo>
                    <a:pt x="88" y="17"/>
                    <a:pt x="85" y="16"/>
                    <a:pt x="81" y="16"/>
                  </a:cubicBezTo>
                  <a:cubicBezTo>
                    <a:pt x="76" y="16"/>
                    <a:pt x="71" y="19"/>
                    <a:pt x="65" y="26"/>
                  </a:cubicBezTo>
                  <a:lnTo>
                    <a:pt x="65" y="80"/>
                  </a:lnTo>
                  <a:lnTo>
                    <a:pt x="47" y="80"/>
                  </a:lnTo>
                  <a:lnTo>
                    <a:pt x="47" y="34"/>
                  </a:lnTo>
                  <a:cubicBezTo>
                    <a:pt x="47" y="27"/>
                    <a:pt x="46" y="23"/>
                    <a:pt x="44" y="20"/>
                  </a:cubicBezTo>
                  <a:cubicBezTo>
                    <a:pt x="42" y="17"/>
                    <a:pt x="39" y="16"/>
                    <a:pt x="35" y="16"/>
                  </a:cubicBezTo>
                  <a:cubicBezTo>
                    <a:pt x="30" y="16"/>
                    <a:pt x="24" y="19"/>
                    <a:pt x="18" y="26"/>
                  </a:cubicBezTo>
                  <a:lnTo>
                    <a:pt x="18" y="80"/>
                  </a:lnTo>
                  <a:lnTo>
                    <a:pt x="0" y="80"/>
                  </a:lnTo>
                  <a:lnTo>
                    <a:pt x="0" y="2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68">
              <a:extLst>
                <a:ext uri="{FF2B5EF4-FFF2-40B4-BE49-F238E27FC236}">
                  <a16:creationId xmlns:a16="http://schemas.microsoft.com/office/drawing/2014/main" id="{AD57568F-4F68-4907-AF09-C2646A0C0B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9789" y="2214429"/>
              <a:ext cx="60450" cy="82721"/>
            </a:xfrm>
            <a:custGeom>
              <a:avLst/>
              <a:gdLst>
                <a:gd name="T0" fmla="*/ 33 w 75"/>
                <a:gd name="T1" fmla="*/ 90 h 104"/>
                <a:gd name="T2" fmla="*/ 51 w 75"/>
                <a:gd name="T3" fmla="*/ 86 h 104"/>
                <a:gd name="T4" fmla="*/ 57 w 75"/>
                <a:gd name="T5" fmla="*/ 72 h 104"/>
                <a:gd name="T6" fmla="*/ 51 w 75"/>
                <a:gd name="T7" fmla="*/ 60 h 104"/>
                <a:gd name="T8" fmla="*/ 33 w 75"/>
                <a:gd name="T9" fmla="*/ 57 h 104"/>
                <a:gd name="T10" fmla="*/ 18 w 75"/>
                <a:gd name="T11" fmla="*/ 57 h 104"/>
                <a:gd name="T12" fmla="*/ 18 w 75"/>
                <a:gd name="T13" fmla="*/ 90 h 104"/>
                <a:gd name="T14" fmla="*/ 33 w 75"/>
                <a:gd name="T15" fmla="*/ 90 h 104"/>
                <a:gd name="T16" fmla="*/ 31 w 75"/>
                <a:gd name="T17" fmla="*/ 43 h 104"/>
                <a:gd name="T18" fmla="*/ 47 w 75"/>
                <a:gd name="T19" fmla="*/ 39 h 104"/>
                <a:gd name="T20" fmla="*/ 52 w 75"/>
                <a:gd name="T21" fmla="*/ 28 h 104"/>
                <a:gd name="T22" fmla="*/ 47 w 75"/>
                <a:gd name="T23" fmla="*/ 18 h 104"/>
                <a:gd name="T24" fmla="*/ 31 w 75"/>
                <a:gd name="T25" fmla="*/ 15 h 104"/>
                <a:gd name="T26" fmla="*/ 18 w 75"/>
                <a:gd name="T27" fmla="*/ 15 h 104"/>
                <a:gd name="T28" fmla="*/ 18 w 75"/>
                <a:gd name="T29" fmla="*/ 43 h 104"/>
                <a:gd name="T30" fmla="*/ 31 w 75"/>
                <a:gd name="T31" fmla="*/ 43 h 104"/>
                <a:gd name="T32" fmla="*/ 0 w 75"/>
                <a:gd name="T33" fmla="*/ 0 h 104"/>
                <a:gd name="T34" fmla="*/ 33 w 75"/>
                <a:gd name="T35" fmla="*/ 0 h 104"/>
                <a:gd name="T36" fmla="*/ 47 w 75"/>
                <a:gd name="T37" fmla="*/ 2 h 104"/>
                <a:gd name="T38" fmla="*/ 59 w 75"/>
                <a:gd name="T39" fmla="*/ 6 h 104"/>
                <a:gd name="T40" fmla="*/ 67 w 75"/>
                <a:gd name="T41" fmla="*/ 14 h 104"/>
                <a:gd name="T42" fmla="*/ 70 w 75"/>
                <a:gd name="T43" fmla="*/ 26 h 104"/>
                <a:gd name="T44" fmla="*/ 65 w 75"/>
                <a:gd name="T45" fmla="*/ 40 h 104"/>
                <a:gd name="T46" fmla="*/ 52 w 75"/>
                <a:gd name="T47" fmla="*/ 48 h 104"/>
                <a:gd name="T48" fmla="*/ 52 w 75"/>
                <a:gd name="T49" fmla="*/ 49 h 104"/>
                <a:gd name="T50" fmla="*/ 69 w 75"/>
                <a:gd name="T51" fmla="*/ 57 h 104"/>
                <a:gd name="T52" fmla="*/ 75 w 75"/>
                <a:gd name="T53" fmla="*/ 74 h 104"/>
                <a:gd name="T54" fmla="*/ 72 w 75"/>
                <a:gd name="T55" fmla="*/ 87 h 104"/>
                <a:gd name="T56" fmla="*/ 64 w 75"/>
                <a:gd name="T57" fmla="*/ 97 h 104"/>
                <a:gd name="T58" fmla="*/ 51 w 75"/>
                <a:gd name="T59" fmla="*/ 102 h 104"/>
                <a:gd name="T60" fmla="*/ 35 w 75"/>
                <a:gd name="T61" fmla="*/ 104 h 104"/>
                <a:gd name="T62" fmla="*/ 0 w 75"/>
                <a:gd name="T63" fmla="*/ 104 h 104"/>
                <a:gd name="T64" fmla="*/ 0 w 75"/>
                <a:gd name="T6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5" h="104">
                  <a:moveTo>
                    <a:pt x="33" y="90"/>
                  </a:moveTo>
                  <a:cubicBezTo>
                    <a:pt x="41" y="90"/>
                    <a:pt x="47" y="88"/>
                    <a:pt x="51" y="86"/>
                  </a:cubicBezTo>
                  <a:cubicBezTo>
                    <a:pt x="55" y="83"/>
                    <a:pt x="57" y="78"/>
                    <a:pt x="57" y="72"/>
                  </a:cubicBezTo>
                  <a:cubicBezTo>
                    <a:pt x="57" y="67"/>
                    <a:pt x="55" y="63"/>
                    <a:pt x="51" y="60"/>
                  </a:cubicBezTo>
                  <a:cubicBezTo>
                    <a:pt x="47" y="58"/>
                    <a:pt x="41" y="57"/>
                    <a:pt x="33" y="57"/>
                  </a:cubicBezTo>
                  <a:lnTo>
                    <a:pt x="18" y="57"/>
                  </a:lnTo>
                  <a:lnTo>
                    <a:pt x="18" y="90"/>
                  </a:lnTo>
                  <a:lnTo>
                    <a:pt x="33" y="90"/>
                  </a:lnTo>
                  <a:close/>
                  <a:moveTo>
                    <a:pt x="31" y="43"/>
                  </a:moveTo>
                  <a:cubicBezTo>
                    <a:pt x="38" y="43"/>
                    <a:pt x="44" y="42"/>
                    <a:pt x="47" y="39"/>
                  </a:cubicBezTo>
                  <a:cubicBezTo>
                    <a:pt x="50" y="37"/>
                    <a:pt x="52" y="33"/>
                    <a:pt x="52" y="28"/>
                  </a:cubicBezTo>
                  <a:cubicBezTo>
                    <a:pt x="52" y="23"/>
                    <a:pt x="50" y="20"/>
                    <a:pt x="47" y="18"/>
                  </a:cubicBezTo>
                  <a:cubicBezTo>
                    <a:pt x="43" y="16"/>
                    <a:pt x="38" y="15"/>
                    <a:pt x="31" y="15"/>
                  </a:cubicBezTo>
                  <a:lnTo>
                    <a:pt x="18" y="15"/>
                  </a:lnTo>
                  <a:lnTo>
                    <a:pt x="18" y="43"/>
                  </a:lnTo>
                  <a:lnTo>
                    <a:pt x="31" y="43"/>
                  </a:lnTo>
                  <a:close/>
                  <a:moveTo>
                    <a:pt x="0" y="0"/>
                  </a:moveTo>
                  <a:lnTo>
                    <a:pt x="33" y="0"/>
                  </a:lnTo>
                  <a:cubicBezTo>
                    <a:pt x="38" y="0"/>
                    <a:pt x="43" y="1"/>
                    <a:pt x="47" y="2"/>
                  </a:cubicBezTo>
                  <a:cubicBezTo>
                    <a:pt x="52" y="3"/>
                    <a:pt x="56" y="4"/>
                    <a:pt x="59" y="6"/>
                  </a:cubicBezTo>
                  <a:cubicBezTo>
                    <a:pt x="63" y="8"/>
                    <a:pt x="65" y="11"/>
                    <a:pt x="67" y="14"/>
                  </a:cubicBezTo>
                  <a:cubicBezTo>
                    <a:pt x="69" y="17"/>
                    <a:pt x="70" y="21"/>
                    <a:pt x="70" y="26"/>
                  </a:cubicBezTo>
                  <a:cubicBezTo>
                    <a:pt x="70" y="31"/>
                    <a:pt x="68" y="36"/>
                    <a:pt x="65" y="40"/>
                  </a:cubicBezTo>
                  <a:cubicBezTo>
                    <a:pt x="62" y="44"/>
                    <a:pt x="58" y="47"/>
                    <a:pt x="52" y="48"/>
                  </a:cubicBezTo>
                  <a:lnTo>
                    <a:pt x="52" y="49"/>
                  </a:lnTo>
                  <a:cubicBezTo>
                    <a:pt x="59" y="50"/>
                    <a:pt x="65" y="53"/>
                    <a:pt x="69" y="57"/>
                  </a:cubicBezTo>
                  <a:cubicBezTo>
                    <a:pt x="73" y="61"/>
                    <a:pt x="75" y="67"/>
                    <a:pt x="75" y="74"/>
                  </a:cubicBezTo>
                  <a:cubicBezTo>
                    <a:pt x="75" y="79"/>
                    <a:pt x="74" y="83"/>
                    <a:pt x="72" y="87"/>
                  </a:cubicBezTo>
                  <a:cubicBezTo>
                    <a:pt x="70" y="91"/>
                    <a:pt x="67" y="94"/>
                    <a:pt x="64" y="97"/>
                  </a:cubicBezTo>
                  <a:cubicBezTo>
                    <a:pt x="60" y="99"/>
                    <a:pt x="56" y="101"/>
                    <a:pt x="51" y="102"/>
                  </a:cubicBezTo>
                  <a:cubicBezTo>
                    <a:pt x="46" y="103"/>
                    <a:pt x="41" y="104"/>
                    <a:pt x="35" y="104"/>
                  </a:cubicBezTo>
                  <a:lnTo>
                    <a:pt x="0" y="104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69">
              <a:extLst>
                <a:ext uri="{FF2B5EF4-FFF2-40B4-BE49-F238E27FC236}">
                  <a16:creationId xmlns:a16="http://schemas.microsoft.com/office/drawing/2014/main" id="{C6D9349B-4C60-4AA1-94F1-95A7ECF30C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34556" y="2214429"/>
              <a:ext cx="62041" cy="82721"/>
            </a:xfrm>
            <a:custGeom>
              <a:avLst/>
              <a:gdLst>
                <a:gd name="T0" fmla="*/ 27 w 78"/>
                <a:gd name="T1" fmla="*/ 89 h 104"/>
                <a:gd name="T2" fmla="*/ 51 w 78"/>
                <a:gd name="T3" fmla="*/ 80 h 104"/>
                <a:gd name="T4" fmla="*/ 59 w 78"/>
                <a:gd name="T5" fmla="*/ 52 h 104"/>
                <a:gd name="T6" fmla="*/ 51 w 78"/>
                <a:gd name="T7" fmla="*/ 24 h 104"/>
                <a:gd name="T8" fmla="*/ 27 w 78"/>
                <a:gd name="T9" fmla="*/ 15 h 104"/>
                <a:gd name="T10" fmla="*/ 18 w 78"/>
                <a:gd name="T11" fmla="*/ 15 h 104"/>
                <a:gd name="T12" fmla="*/ 18 w 78"/>
                <a:gd name="T13" fmla="*/ 89 h 104"/>
                <a:gd name="T14" fmla="*/ 27 w 78"/>
                <a:gd name="T15" fmla="*/ 89 h 104"/>
                <a:gd name="T16" fmla="*/ 0 w 78"/>
                <a:gd name="T17" fmla="*/ 0 h 104"/>
                <a:gd name="T18" fmla="*/ 28 w 78"/>
                <a:gd name="T19" fmla="*/ 0 h 104"/>
                <a:gd name="T20" fmla="*/ 65 w 78"/>
                <a:gd name="T21" fmla="*/ 13 h 104"/>
                <a:gd name="T22" fmla="*/ 78 w 78"/>
                <a:gd name="T23" fmla="*/ 52 h 104"/>
                <a:gd name="T24" fmla="*/ 75 w 78"/>
                <a:gd name="T25" fmla="*/ 74 h 104"/>
                <a:gd name="T26" fmla="*/ 65 w 78"/>
                <a:gd name="T27" fmla="*/ 91 h 104"/>
                <a:gd name="T28" fmla="*/ 49 w 78"/>
                <a:gd name="T29" fmla="*/ 101 h 104"/>
                <a:gd name="T30" fmla="*/ 29 w 78"/>
                <a:gd name="T31" fmla="*/ 104 h 104"/>
                <a:gd name="T32" fmla="*/ 0 w 78"/>
                <a:gd name="T33" fmla="*/ 104 h 104"/>
                <a:gd name="T34" fmla="*/ 0 w 78"/>
                <a:gd name="T3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4">
                  <a:moveTo>
                    <a:pt x="27" y="89"/>
                  </a:moveTo>
                  <a:cubicBezTo>
                    <a:pt x="37" y="89"/>
                    <a:pt x="45" y="86"/>
                    <a:pt x="51" y="80"/>
                  </a:cubicBezTo>
                  <a:cubicBezTo>
                    <a:pt x="57" y="74"/>
                    <a:pt x="59" y="65"/>
                    <a:pt x="59" y="52"/>
                  </a:cubicBezTo>
                  <a:cubicBezTo>
                    <a:pt x="59" y="39"/>
                    <a:pt x="56" y="30"/>
                    <a:pt x="51" y="24"/>
                  </a:cubicBezTo>
                  <a:cubicBezTo>
                    <a:pt x="45" y="18"/>
                    <a:pt x="37" y="15"/>
                    <a:pt x="27" y="15"/>
                  </a:cubicBezTo>
                  <a:lnTo>
                    <a:pt x="18" y="15"/>
                  </a:lnTo>
                  <a:lnTo>
                    <a:pt x="18" y="89"/>
                  </a:lnTo>
                  <a:lnTo>
                    <a:pt x="27" y="89"/>
                  </a:lnTo>
                  <a:close/>
                  <a:moveTo>
                    <a:pt x="0" y="0"/>
                  </a:moveTo>
                  <a:lnTo>
                    <a:pt x="28" y="0"/>
                  </a:lnTo>
                  <a:cubicBezTo>
                    <a:pt x="44" y="0"/>
                    <a:pt x="56" y="5"/>
                    <a:pt x="65" y="13"/>
                  </a:cubicBezTo>
                  <a:cubicBezTo>
                    <a:pt x="74" y="22"/>
                    <a:pt x="78" y="35"/>
                    <a:pt x="78" y="52"/>
                  </a:cubicBezTo>
                  <a:cubicBezTo>
                    <a:pt x="78" y="60"/>
                    <a:pt x="77" y="68"/>
                    <a:pt x="75" y="74"/>
                  </a:cubicBezTo>
                  <a:cubicBezTo>
                    <a:pt x="73" y="81"/>
                    <a:pt x="69" y="86"/>
                    <a:pt x="65" y="91"/>
                  </a:cubicBezTo>
                  <a:cubicBezTo>
                    <a:pt x="61" y="95"/>
                    <a:pt x="56" y="98"/>
                    <a:pt x="49" y="101"/>
                  </a:cubicBezTo>
                  <a:cubicBezTo>
                    <a:pt x="43" y="103"/>
                    <a:pt x="36" y="104"/>
                    <a:pt x="29" y="104"/>
                  </a:cubicBezTo>
                  <a:lnTo>
                    <a:pt x="0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70">
              <a:extLst>
                <a:ext uri="{FF2B5EF4-FFF2-40B4-BE49-F238E27FC236}">
                  <a16:creationId xmlns:a16="http://schemas.microsoft.com/office/drawing/2014/main" id="{85B4D097-D711-483A-942E-8C6344D05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095" y="2214429"/>
              <a:ext cx="50905" cy="82721"/>
            </a:xfrm>
            <a:custGeom>
              <a:avLst/>
              <a:gdLst>
                <a:gd name="T0" fmla="*/ 0 w 32"/>
                <a:gd name="T1" fmla="*/ 0 h 52"/>
                <a:gd name="T2" fmla="*/ 31 w 32"/>
                <a:gd name="T3" fmla="*/ 0 h 52"/>
                <a:gd name="T4" fmla="*/ 31 w 32"/>
                <a:gd name="T5" fmla="*/ 8 h 52"/>
                <a:gd name="T6" fmla="*/ 9 w 32"/>
                <a:gd name="T7" fmla="*/ 8 h 52"/>
                <a:gd name="T8" fmla="*/ 9 w 32"/>
                <a:gd name="T9" fmla="*/ 21 h 52"/>
                <a:gd name="T10" fmla="*/ 28 w 32"/>
                <a:gd name="T11" fmla="*/ 21 h 52"/>
                <a:gd name="T12" fmla="*/ 28 w 32"/>
                <a:gd name="T13" fmla="*/ 29 h 52"/>
                <a:gd name="T14" fmla="*/ 9 w 32"/>
                <a:gd name="T15" fmla="*/ 29 h 52"/>
                <a:gd name="T16" fmla="*/ 9 w 32"/>
                <a:gd name="T17" fmla="*/ 45 h 52"/>
                <a:gd name="T18" fmla="*/ 32 w 32"/>
                <a:gd name="T19" fmla="*/ 45 h 52"/>
                <a:gd name="T20" fmla="*/ 32 w 32"/>
                <a:gd name="T21" fmla="*/ 52 h 52"/>
                <a:gd name="T22" fmla="*/ 0 w 32"/>
                <a:gd name="T23" fmla="*/ 52 h 52"/>
                <a:gd name="T24" fmla="*/ 0 w 32"/>
                <a:gd name="T2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52">
                  <a:moveTo>
                    <a:pt x="0" y="0"/>
                  </a:moveTo>
                  <a:lnTo>
                    <a:pt x="31" y="0"/>
                  </a:lnTo>
                  <a:lnTo>
                    <a:pt x="31" y="8"/>
                  </a:lnTo>
                  <a:lnTo>
                    <a:pt x="9" y="8"/>
                  </a:lnTo>
                  <a:lnTo>
                    <a:pt x="9" y="21"/>
                  </a:lnTo>
                  <a:lnTo>
                    <a:pt x="28" y="21"/>
                  </a:lnTo>
                  <a:lnTo>
                    <a:pt x="28" y="29"/>
                  </a:lnTo>
                  <a:lnTo>
                    <a:pt x="9" y="29"/>
                  </a:lnTo>
                  <a:lnTo>
                    <a:pt x="9" y="45"/>
                  </a:lnTo>
                  <a:lnTo>
                    <a:pt x="32" y="45"/>
                  </a:lnTo>
                  <a:lnTo>
                    <a:pt x="32" y="52"/>
                  </a:lnTo>
                  <a:lnTo>
                    <a:pt x="0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71">
              <a:extLst>
                <a:ext uri="{FF2B5EF4-FFF2-40B4-BE49-F238E27FC236}">
                  <a16:creationId xmlns:a16="http://schemas.microsoft.com/office/drawing/2014/main" id="{BC359DC4-85E7-441A-94C6-EAEB399BD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2955" y="2214429"/>
              <a:ext cx="97038" cy="82721"/>
            </a:xfrm>
            <a:custGeom>
              <a:avLst/>
              <a:gdLst>
                <a:gd name="T0" fmla="*/ 0 w 121"/>
                <a:gd name="T1" fmla="*/ 0 h 104"/>
                <a:gd name="T2" fmla="*/ 19 w 121"/>
                <a:gd name="T3" fmla="*/ 0 h 104"/>
                <a:gd name="T4" fmla="*/ 28 w 121"/>
                <a:gd name="T5" fmla="*/ 53 h 104"/>
                <a:gd name="T6" fmla="*/ 30 w 121"/>
                <a:gd name="T7" fmla="*/ 69 h 104"/>
                <a:gd name="T8" fmla="*/ 33 w 121"/>
                <a:gd name="T9" fmla="*/ 86 h 104"/>
                <a:gd name="T10" fmla="*/ 34 w 121"/>
                <a:gd name="T11" fmla="*/ 86 h 104"/>
                <a:gd name="T12" fmla="*/ 37 w 121"/>
                <a:gd name="T13" fmla="*/ 69 h 104"/>
                <a:gd name="T14" fmla="*/ 40 w 121"/>
                <a:gd name="T15" fmla="*/ 53 h 104"/>
                <a:gd name="T16" fmla="*/ 53 w 121"/>
                <a:gd name="T17" fmla="*/ 0 h 104"/>
                <a:gd name="T18" fmla="*/ 69 w 121"/>
                <a:gd name="T19" fmla="*/ 0 h 104"/>
                <a:gd name="T20" fmla="*/ 82 w 121"/>
                <a:gd name="T21" fmla="*/ 53 h 104"/>
                <a:gd name="T22" fmla="*/ 85 w 121"/>
                <a:gd name="T23" fmla="*/ 69 h 104"/>
                <a:gd name="T24" fmla="*/ 89 w 121"/>
                <a:gd name="T25" fmla="*/ 86 h 104"/>
                <a:gd name="T26" fmla="*/ 89 w 121"/>
                <a:gd name="T27" fmla="*/ 86 h 104"/>
                <a:gd name="T28" fmla="*/ 92 w 121"/>
                <a:gd name="T29" fmla="*/ 69 h 104"/>
                <a:gd name="T30" fmla="*/ 94 w 121"/>
                <a:gd name="T31" fmla="*/ 53 h 104"/>
                <a:gd name="T32" fmla="*/ 103 w 121"/>
                <a:gd name="T33" fmla="*/ 0 h 104"/>
                <a:gd name="T34" fmla="*/ 121 w 121"/>
                <a:gd name="T35" fmla="*/ 0 h 104"/>
                <a:gd name="T36" fmla="*/ 101 w 121"/>
                <a:gd name="T37" fmla="*/ 104 h 104"/>
                <a:gd name="T38" fmla="*/ 78 w 121"/>
                <a:gd name="T39" fmla="*/ 104 h 104"/>
                <a:gd name="T40" fmla="*/ 65 w 121"/>
                <a:gd name="T41" fmla="*/ 50 h 104"/>
                <a:gd name="T42" fmla="*/ 63 w 121"/>
                <a:gd name="T43" fmla="*/ 38 h 104"/>
                <a:gd name="T44" fmla="*/ 61 w 121"/>
                <a:gd name="T45" fmla="*/ 26 h 104"/>
                <a:gd name="T46" fmla="*/ 60 w 121"/>
                <a:gd name="T47" fmla="*/ 26 h 104"/>
                <a:gd name="T48" fmla="*/ 58 w 121"/>
                <a:gd name="T49" fmla="*/ 38 h 104"/>
                <a:gd name="T50" fmla="*/ 55 w 121"/>
                <a:gd name="T51" fmla="*/ 50 h 104"/>
                <a:gd name="T52" fmla="*/ 43 w 121"/>
                <a:gd name="T53" fmla="*/ 104 h 104"/>
                <a:gd name="T54" fmla="*/ 21 w 121"/>
                <a:gd name="T55" fmla="*/ 104 h 104"/>
                <a:gd name="T56" fmla="*/ 0 w 121"/>
                <a:gd name="T5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1" h="104">
                  <a:moveTo>
                    <a:pt x="0" y="0"/>
                  </a:moveTo>
                  <a:lnTo>
                    <a:pt x="19" y="0"/>
                  </a:lnTo>
                  <a:lnTo>
                    <a:pt x="28" y="53"/>
                  </a:lnTo>
                  <a:cubicBezTo>
                    <a:pt x="29" y="58"/>
                    <a:pt x="30" y="64"/>
                    <a:pt x="30" y="69"/>
                  </a:cubicBezTo>
                  <a:cubicBezTo>
                    <a:pt x="31" y="75"/>
                    <a:pt x="32" y="80"/>
                    <a:pt x="33" y="86"/>
                  </a:cubicBezTo>
                  <a:lnTo>
                    <a:pt x="34" y="86"/>
                  </a:lnTo>
                  <a:cubicBezTo>
                    <a:pt x="35" y="80"/>
                    <a:pt x="36" y="75"/>
                    <a:pt x="37" y="69"/>
                  </a:cubicBezTo>
                  <a:cubicBezTo>
                    <a:pt x="38" y="64"/>
                    <a:pt x="39" y="58"/>
                    <a:pt x="40" y="53"/>
                  </a:cubicBezTo>
                  <a:lnTo>
                    <a:pt x="53" y="0"/>
                  </a:lnTo>
                  <a:lnTo>
                    <a:pt x="69" y="0"/>
                  </a:lnTo>
                  <a:lnTo>
                    <a:pt x="82" y="53"/>
                  </a:lnTo>
                  <a:cubicBezTo>
                    <a:pt x="83" y="58"/>
                    <a:pt x="84" y="64"/>
                    <a:pt x="85" y="69"/>
                  </a:cubicBezTo>
                  <a:cubicBezTo>
                    <a:pt x="86" y="75"/>
                    <a:pt x="87" y="80"/>
                    <a:pt x="89" y="86"/>
                  </a:cubicBezTo>
                  <a:lnTo>
                    <a:pt x="89" y="86"/>
                  </a:lnTo>
                  <a:cubicBezTo>
                    <a:pt x="90" y="80"/>
                    <a:pt x="91" y="75"/>
                    <a:pt x="92" y="69"/>
                  </a:cubicBezTo>
                  <a:cubicBezTo>
                    <a:pt x="93" y="64"/>
                    <a:pt x="93" y="58"/>
                    <a:pt x="94" y="53"/>
                  </a:cubicBezTo>
                  <a:lnTo>
                    <a:pt x="103" y="0"/>
                  </a:lnTo>
                  <a:lnTo>
                    <a:pt x="121" y="0"/>
                  </a:lnTo>
                  <a:lnTo>
                    <a:pt x="101" y="104"/>
                  </a:lnTo>
                  <a:lnTo>
                    <a:pt x="78" y="104"/>
                  </a:lnTo>
                  <a:lnTo>
                    <a:pt x="65" y="50"/>
                  </a:lnTo>
                  <a:cubicBezTo>
                    <a:pt x="65" y="46"/>
                    <a:pt x="64" y="42"/>
                    <a:pt x="63" y="38"/>
                  </a:cubicBezTo>
                  <a:cubicBezTo>
                    <a:pt x="62" y="34"/>
                    <a:pt x="61" y="30"/>
                    <a:pt x="61" y="26"/>
                  </a:cubicBezTo>
                  <a:lnTo>
                    <a:pt x="60" y="26"/>
                  </a:lnTo>
                  <a:cubicBezTo>
                    <a:pt x="59" y="30"/>
                    <a:pt x="59" y="34"/>
                    <a:pt x="58" y="38"/>
                  </a:cubicBezTo>
                  <a:cubicBezTo>
                    <a:pt x="57" y="42"/>
                    <a:pt x="56" y="46"/>
                    <a:pt x="55" y="50"/>
                  </a:cubicBezTo>
                  <a:lnTo>
                    <a:pt x="43" y="104"/>
                  </a:lnTo>
                  <a:lnTo>
                    <a:pt x="21" y="104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38" name="Textplatzhalter 24">
            <a:extLst>
              <a:ext uri="{FF2B5EF4-FFF2-40B4-BE49-F238E27FC236}">
                <a16:creationId xmlns:a16="http://schemas.microsoft.com/office/drawing/2014/main" id="{45A9868B-A85D-40EA-A82A-FF6AA8C219A8}"/>
              </a:ext>
            </a:extLst>
          </p:cNvPr>
          <p:cNvSpPr txBox="1">
            <a:spLocks/>
          </p:cNvSpPr>
          <p:nvPr/>
        </p:nvSpPr>
        <p:spPr>
          <a:xfrm>
            <a:off x="431255" y="2664395"/>
            <a:ext cx="6192000" cy="1150362"/>
          </a:xfrm>
          <a:prstGeom prst="rect">
            <a:avLst/>
          </a:prstGeom>
        </p:spPr>
        <p:txBody>
          <a:bodyPr lIns="0" tIns="0" rIns="0" bIns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endParaRPr lang="de-DE" sz="1600" dirty="0"/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r>
              <a:rPr lang="de-DE" sz="1600" dirty="0"/>
              <a:t>T 	+49 30 300199-</a:t>
            </a:r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br>
              <a:rPr lang="de-DE" sz="1600" dirty="0"/>
            </a:br>
            <a:endParaRPr lang="de-DE" sz="1600" dirty="0"/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r>
              <a:rPr lang="de-DE" sz="1600" dirty="0"/>
              <a:t>www.bdew.de</a:t>
            </a:r>
          </a:p>
        </p:txBody>
      </p:sp>
      <p:sp>
        <p:nvSpPr>
          <p:cNvPr id="40" name="Rectangle 2">
            <a:extLst>
              <a:ext uri="{FF2B5EF4-FFF2-40B4-BE49-F238E27FC236}">
                <a16:creationId xmlns:a16="http://schemas.microsoft.com/office/drawing/2014/main" id="{D31BC1E4-9ED8-4686-907B-92AA44305ED9}"/>
              </a:ext>
            </a:extLst>
          </p:cNvPr>
          <p:cNvSpPr>
            <a:spLocks noChangeArrowheads="1"/>
          </p:cNvSpPr>
          <p:nvPr/>
        </p:nvSpPr>
        <p:spPr bwMode="hidden">
          <a:xfrm>
            <a:off x="144000" y="144000"/>
            <a:ext cx="8928000" cy="4896000"/>
          </a:xfrm>
          <a:prstGeom prst="rect">
            <a:avLst/>
          </a:prstGeom>
          <a:noFill/>
          <a:ln w="12700">
            <a:solidFill>
              <a:srgbClr val="C20000"/>
            </a:solidFill>
          </a:ln>
          <a:effectLst/>
        </p:spPr>
        <p:txBody>
          <a:bodyPr wrap="none" anchor="ctr"/>
          <a:lstStyle/>
          <a:p>
            <a:endParaRPr lang="de-DE" sz="1828"/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41B69F0E-7C04-400A-8350-093DBCA8DC88}"/>
              </a:ext>
            </a:extLst>
          </p:cNvPr>
          <p:cNvSpPr txBox="1"/>
          <p:nvPr/>
        </p:nvSpPr>
        <p:spPr>
          <a:xfrm>
            <a:off x="431040" y="868025"/>
            <a:ext cx="6176099" cy="646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defTabSz="691157">
              <a:lnSpc>
                <a:spcPct val="90000"/>
              </a:lnSpc>
              <a:spcBef>
                <a:spcPct val="0"/>
              </a:spcBef>
              <a:buNone/>
              <a:defRPr sz="26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Vielen Dank für Ihre Aufmerksamkeit!</a:t>
            </a:r>
          </a:p>
        </p:txBody>
      </p:sp>
    </p:spTree>
    <p:extLst>
      <p:ext uri="{BB962C8B-B14F-4D97-AF65-F5344CB8AC3E}">
        <p14:creationId xmlns:p14="http://schemas.microsoft.com/office/powerpoint/2010/main" val="32853830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seite (2 A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B6C2A7ED-3E27-439F-AEFC-E742B9DAC482}"/>
              </a:ext>
            </a:extLst>
          </p:cNvPr>
          <p:cNvSpPr txBox="1">
            <a:spLocks/>
          </p:cNvSpPr>
          <p:nvPr/>
        </p:nvSpPr>
        <p:spPr>
          <a:xfrm>
            <a:off x="431255" y="2664395"/>
            <a:ext cx="6192000" cy="1150362"/>
          </a:xfrm>
          <a:prstGeom prst="rect">
            <a:avLst/>
          </a:prstGeom>
        </p:spPr>
        <p:txBody>
          <a:bodyPr lIns="0" tIns="0" rIns="0" bIns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endParaRPr lang="de-DE" sz="1600" dirty="0"/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r>
              <a:rPr lang="de-DE" sz="1600" dirty="0"/>
              <a:t>T 	+49 30 300199-</a:t>
            </a:r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br>
              <a:rPr lang="de-DE" sz="1600" dirty="0"/>
            </a:br>
            <a:endParaRPr lang="de-DE" sz="1600" dirty="0"/>
          </a:p>
        </p:txBody>
      </p:sp>
      <p:sp>
        <p:nvSpPr>
          <p:cNvPr id="8" name="Textplatzhalter 24">
            <a:extLst>
              <a:ext uri="{FF2B5EF4-FFF2-40B4-BE49-F238E27FC236}">
                <a16:creationId xmlns:a16="http://schemas.microsoft.com/office/drawing/2014/main" id="{163336B0-2170-409A-84C2-E385D2F84FAD}"/>
              </a:ext>
            </a:extLst>
          </p:cNvPr>
          <p:cNvSpPr txBox="1">
            <a:spLocks/>
          </p:cNvSpPr>
          <p:nvPr/>
        </p:nvSpPr>
        <p:spPr>
          <a:xfrm>
            <a:off x="431255" y="3888587"/>
            <a:ext cx="6480000" cy="504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de-DE" sz="1600" b="1" dirty="0">
                <a:solidFill>
                  <a:schemeClr val="bg1"/>
                </a:solidFill>
              </a:rPr>
              <a:t>BDEW Bundesverband der Energie- und Wasserwirtschaft e.V.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600" dirty="0">
                <a:solidFill>
                  <a:schemeClr val="bg1"/>
                </a:solidFill>
              </a:rPr>
              <a:t>Reinhardtstraße 32 · 10117 Berlin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D9A01EA3-8451-411A-A54D-13395C21C1FB}"/>
              </a:ext>
            </a:extLst>
          </p:cNvPr>
          <p:cNvSpPr>
            <a:spLocks noChangeArrowheads="1"/>
          </p:cNvSpPr>
          <p:nvPr/>
        </p:nvSpPr>
        <p:spPr bwMode="hidden">
          <a:xfrm>
            <a:off x="144000" y="144000"/>
            <a:ext cx="8928000" cy="4896000"/>
          </a:xfrm>
          <a:prstGeom prst="rect">
            <a:avLst/>
          </a:prstGeom>
          <a:noFill/>
          <a:ln w="12700">
            <a:solidFill>
              <a:srgbClr val="C00000"/>
            </a:solidFill>
          </a:ln>
          <a:effectLst/>
        </p:spPr>
        <p:txBody>
          <a:bodyPr wrap="none" anchor="ctr"/>
          <a:lstStyle/>
          <a:p>
            <a:endParaRPr lang="de-DE" sz="1828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5904070-0BA0-4AE0-842E-83FD5922B85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71990" y="576162"/>
            <a:ext cx="1800225" cy="1224000"/>
            <a:chOff x="7271990" y="576162"/>
            <a:chExt cx="1800225" cy="1224000"/>
          </a:xfrm>
        </p:grpSpPr>
        <p:sp>
          <p:nvSpPr>
            <p:cNvPr id="11" name="Rectangle 6">
              <a:extLst>
                <a:ext uri="{FF2B5EF4-FFF2-40B4-BE49-F238E27FC236}">
                  <a16:creationId xmlns:a16="http://schemas.microsoft.com/office/drawing/2014/main" id="{8E3F5386-A68E-4783-91A4-7ABCEF0F6CA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71990" y="576162"/>
              <a:ext cx="1800225" cy="1224000"/>
            </a:xfrm>
            <a:prstGeom prst="rect">
              <a:avLst/>
            </a:prstGeom>
            <a:solidFill>
              <a:srgbClr val="C2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43DDAB11-4336-45B9-8C7A-BFB021B00D43}"/>
                </a:ext>
              </a:extLst>
            </p:cNvPr>
            <p:cNvGrpSpPr/>
            <p:nvPr/>
          </p:nvGrpSpPr>
          <p:grpSpPr bwMode="gray">
            <a:xfrm>
              <a:off x="7538786" y="868025"/>
              <a:ext cx="1244600" cy="646113"/>
              <a:chOff x="7538786" y="868025"/>
              <a:chExt cx="1244600" cy="646113"/>
            </a:xfrm>
          </p:grpSpPr>
          <p:sp>
            <p:nvSpPr>
              <p:cNvPr id="13" name="Freeform 38">
                <a:extLst>
                  <a:ext uri="{FF2B5EF4-FFF2-40B4-BE49-F238E27FC236}">
                    <a16:creationId xmlns:a16="http://schemas.microsoft.com/office/drawing/2014/main" id="{AAF8BDAB-1509-41A4-95CE-55A836221A3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1398250"/>
                <a:ext cx="1244600" cy="115888"/>
              </a:xfrm>
              <a:custGeom>
                <a:avLst/>
                <a:gdLst>
                  <a:gd name="T0" fmla="*/ 1559 w 1559"/>
                  <a:gd name="T1" fmla="*/ 104 h 146"/>
                  <a:gd name="T2" fmla="*/ 1471 w 1559"/>
                  <a:gd name="T3" fmla="*/ 48 h 146"/>
                  <a:gd name="T4" fmla="*/ 1472 w 1559"/>
                  <a:gd name="T5" fmla="*/ 114 h 146"/>
                  <a:gd name="T6" fmla="*/ 1518 w 1559"/>
                  <a:gd name="T7" fmla="*/ 114 h 146"/>
                  <a:gd name="T8" fmla="*/ 1433 w 1559"/>
                  <a:gd name="T9" fmla="*/ 74 h 146"/>
                  <a:gd name="T10" fmla="*/ 1431 w 1559"/>
                  <a:gd name="T11" fmla="*/ 92 h 146"/>
                  <a:gd name="T12" fmla="*/ 1332 w 1559"/>
                  <a:gd name="T13" fmla="*/ 75 h 146"/>
                  <a:gd name="T14" fmla="*/ 1332 w 1559"/>
                  <a:gd name="T15" fmla="*/ 75 h 146"/>
                  <a:gd name="T16" fmla="*/ 1304 w 1559"/>
                  <a:gd name="T17" fmla="*/ 2 h 146"/>
                  <a:gd name="T18" fmla="*/ 1303 w 1559"/>
                  <a:gd name="T19" fmla="*/ 108 h 146"/>
                  <a:gd name="T20" fmla="*/ 1232 w 1559"/>
                  <a:gd name="T21" fmla="*/ 51 h 146"/>
                  <a:gd name="T22" fmla="*/ 1231 w 1559"/>
                  <a:gd name="T23" fmla="*/ 115 h 146"/>
                  <a:gd name="T24" fmla="*/ 1265 w 1559"/>
                  <a:gd name="T25" fmla="*/ 80 h 146"/>
                  <a:gd name="T26" fmla="*/ 1145 w 1559"/>
                  <a:gd name="T27" fmla="*/ 11 h 146"/>
                  <a:gd name="T28" fmla="*/ 1061 w 1559"/>
                  <a:gd name="T29" fmla="*/ 92 h 146"/>
                  <a:gd name="T30" fmla="*/ 1044 w 1559"/>
                  <a:gd name="T31" fmla="*/ 37 h 146"/>
                  <a:gd name="T32" fmla="*/ 1008 w 1559"/>
                  <a:gd name="T33" fmla="*/ 56 h 146"/>
                  <a:gd name="T34" fmla="*/ 1051 w 1559"/>
                  <a:gd name="T35" fmla="*/ 54 h 146"/>
                  <a:gd name="T36" fmla="*/ 970 w 1559"/>
                  <a:gd name="T37" fmla="*/ 68 h 146"/>
                  <a:gd name="T38" fmla="*/ 989 w 1559"/>
                  <a:gd name="T39" fmla="*/ 108 h 146"/>
                  <a:gd name="T40" fmla="*/ 990 w 1559"/>
                  <a:gd name="T41" fmla="*/ 74 h 146"/>
                  <a:gd name="T42" fmla="*/ 906 w 1559"/>
                  <a:gd name="T43" fmla="*/ 57 h 146"/>
                  <a:gd name="T44" fmla="*/ 892 w 1559"/>
                  <a:gd name="T45" fmla="*/ 92 h 146"/>
                  <a:gd name="T46" fmla="*/ 911 w 1559"/>
                  <a:gd name="T47" fmla="*/ 91 h 146"/>
                  <a:gd name="T48" fmla="*/ 837 w 1559"/>
                  <a:gd name="T49" fmla="*/ 57 h 146"/>
                  <a:gd name="T50" fmla="*/ 823 w 1559"/>
                  <a:gd name="T51" fmla="*/ 92 h 146"/>
                  <a:gd name="T52" fmla="*/ 843 w 1559"/>
                  <a:gd name="T53" fmla="*/ 91 h 146"/>
                  <a:gd name="T54" fmla="*/ 749 w 1559"/>
                  <a:gd name="T55" fmla="*/ 80 h 146"/>
                  <a:gd name="T56" fmla="*/ 765 w 1559"/>
                  <a:gd name="T57" fmla="*/ 43 h 146"/>
                  <a:gd name="T58" fmla="*/ 749 w 1559"/>
                  <a:gd name="T59" fmla="*/ 61 h 146"/>
                  <a:gd name="T60" fmla="*/ 751 w 1559"/>
                  <a:gd name="T61" fmla="*/ 107 h 146"/>
                  <a:gd name="T62" fmla="*/ 667 w 1559"/>
                  <a:gd name="T63" fmla="*/ 61 h 146"/>
                  <a:gd name="T64" fmla="*/ 613 w 1559"/>
                  <a:gd name="T65" fmla="*/ 61 h 146"/>
                  <a:gd name="T66" fmla="*/ 597 w 1559"/>
                  <a:gd name="T67" fmla="*/ 114 h 146"/>
                  <a:gd name="T68" fmla="*/ 650 w 1559"/>
                  <a:gd name="T69" fmla="*/ 114 h 146"/>
                  <a:gd name="T70" fmla="*/ 512 w 1559"/>
                  <a:gd name="T71" fmla="*/ 104 h 146"/>
                  <a:gd name="T72" fmla="*/ 464 w 1559"/>
                  <a:gd name="T73" fmla="*/ 51 h 146"/>
                  <a:gd name="T74" fmla="*/ 462 w 1559"/>
                  <a:gd name="T75" fmla="*/ 115 h 146"/>
                  <a:gd name="T76" fmla="*/ 496 w 1559"/>
                  <a:gd name="T77" fmla="*/ 80 h 146"/>
                  <a:gd name="T78" fmla="*/ 393 w 1559"/>
                  <a:gd name="T79" fmla="*/ 38 h 146"/>
                  <a:gd name="T80" fmla="*/ 391 w 1559"/>
                  <a:gd name="T81" fmla="*/ 12 h 146"/>
                  <a:gd name="T82" fmla="*/ 326 w 1559"/>
                  <a:gd name="T83" fmla="*/ 75 h 146"/>
                  <a:gd name="T84" fmla="*/ 355 w 1559"/>
                  <a:gd name="T85" fmla="*/ 38 h 146"/>
                  <a:gd name="T86" fmla="*/ 353 w 1559"/>
                  <a:gd name="T87" fmla="*/ 103 h 146"/>
                  <a:gd name="T88" fmla="*/ 310 w 1559"/>
                  <a:gd name="T89" fmla="*/ 122 h 146"/>
                  <a:gd name="T90" fmla="*/ 373 w 1559"/>
                  <a:gd name="T91" fmla="*/ 56 h 146"/>
                  <a:gd name="T92" fmla="*/ 269 w 1559"/>
                  <a:gd name="T93" fmla="*/ 47 h 146"/>
                  <a:gd name="T94" fmla="*/ 270 w 1559"/>
                  <a:gd name="T95" fmla="*/ 114 h 146"/>
                  <a:gd name="T96" fmla="*/ 211 w 1559"/>
                  <a:gd name="T97" fmla="*/ 68 h 146"/>
                  <a:gd name="T98" fmla="*/ 198 w 1559"/>
                  <a:gd name="T99" fmla="*/ 36 h 146"/>
                  <a:gd name="T100" fmla="*/ 200 w 1559"/>
                  <a:gd name="T101" fmla="*/ 100 h 146"/>
                  <a:gd name="T102" fmla="*/ 148 w 1559"/>
                  <a:gd name="T103" fmla="*/ 62 h 146"/>
                  <a:gd name="T104" fmla="*/ 81 w 1559"/>
                  <a:gd name="T105" fmla="*/ 38 h 146"/>
                  <a:gd name="T106" fmla="*/ 119 w 1559"/>
                  <a:gd name="T107" fmla="*/ 54 h 146"/>
                  <a:gd name="T108" fmla="*/ 66 w 1559"/>
                  <a:gd name="T109" fmla="*/ 96 h 146"/>
                  <a:gd name="T110" fmla="*/ 21 w 1559"/>
                  <a:gd name="T111" fmla="*/ 52 h 146"/>
                  <a:gd name="T112" fmla="*/ 0 w 1559"/>
                  <a:gd name="T113" fmla="*/ 11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59" h="146">
                    <a:moveTo>
                      <a:pt x="1559" y="104"/>
                    </a:moveTo>
                    <a:cubicBezTo>
                      <a:pt x="1559" y="98"/>
                      <a:pt x="1556" y="92"/>
                      <a:pt x="1547" y="92"/>
                    </a:cubicBezTo>
                    <a:cubicBezTo>
                      <a:pt x="1539" y="92"/>
                      <a:pt x="1535" y="98"/>
                      <a:pt x="1535" y="104"/>
                    </a:cubicBezTo>
                    <a:cubicBezTo>
                      <a:pt x="1535" y="110"/>
                      <a:pt x="1539" y="116"/>
                      <a:pt x="1547" y="116"/>
                    </a:cubicBezTo>
                    <a:cubicBezTo>
                      <a:pt x="1556" y="116"/>
                      <a:pt x="1559" y="110"/>
                      <a:pt x="1559" y="104"/>
                    </a:cubicBezTo>
                    <a:close/>
                    <a:moveTo>
                      <a:pt x="1518" y="114"/>
                    </a:moveTo>
                    <a:lnTo>
                      <a:pt x="1518" y="62"/>
                    </a:lnTo>
                    <a:cubicBezTo>
                      <a:pt x="1518" y="55"/>
                      <a:pt x="1517" y="49"/>
                      <a:pt x="1514" y="45"/>
                    </a:cubicBezTo>
                    <a:cubicBezTo>
                      <a:pt x="1510" y="39"/>
                      <a:pt x="1504" y="36"/>
                      <a:pt x="1495" y="36"/>
                    </a:cubicBezTo>
                    <a:cubicBezTo>
                      <a:pt x="1485" y="36"/>
                      <a:pt x="1474" y="45"/>
                      <a:pt x="1471" y="48"/>
                    </a:cubicBezTo>
                    <a:cubicBezTo>
                      <a:pt x="1471" y="43"/>
                      <a:pt x="1470" y="38"/>
                      <a:pt x="1470" y="38"/>
                    </a:cubicBezTo>
                    <a:lnTo>
                      <a:pt x="1450" y="38"/>
                    </a:lnTo>
                    <a:cubicBezTo>
                      <a:pt x="1450" y="38"/>
                      <a:pt x="1451" y="47"/>
                      <a:pt x="1451" y="56"/>
                    </a:cubicBezTo>
                    <a:lnTo>
                      <a:pt x="1451" y="114"/>
                    </a:lnTo>
                    <a:lnTo>
                      <a:pt x="1472" y="114"/>
                    </a:lnTo>
                    <a:lnTo>
                      <a:pt x="1472" y="62"/>
                    </a:lnTo>
                    <a:cubicBezTo>
                      <a:pt x="1475" y="59"/>
                      <a:pt x="1482" y="54"/>
                      <a:pt x="1488" y="54"/>
                    </a:cubicBezTo>
                    <a:cubicBezTo>
                      <a:pt x="1493" y="54"/>
                      <a:pt x="1497" y="55"/>
                      <a:pt x="1497" y="64"/>
                    </a:cubicBezTo>
                    <a:lnTo>
                      <a:pt x="1497" y="114"/>
                    </a:lnTo>
                    <a:lnTo>
                      <a:pt x="1518" y="114"/>
                    </a:lnTo>
                    <a:close/>
                    <a:moveTo>
                      <a:pt x="1413" y="68"/>
                    </a:moveTo>
                    <a:lnTo>
                      <a:pt x="1389" y="68"/>
                    </a:lnTo>
                    <a:cubicBezTo>
                      <a:pt x="1389" y="62"/>
                      <a:pt x="1391" y="51"/>
                      <a:pt x="1400" y="51"/>
                    </a:cubicBezTo>
                    <a:cubicBezTo>
                      <a:pt x="1411" y="51"/>
                      <a:pt x="1413" y="62"/>
                      <a:pt x="1413" y="68"/>
                    </a:cubicBezTo>
                    <a:close/>
                    <a:moveTo>
                      <a:pt x="1433" y="74"/>
                    </a:moveTo>
                    <a:cubicBezTo>
                      <a:pt x="1433" y="56"/>
                      <a:pt x="1426" y="36"/>
                      <a:pt x="1400" y="36"/>
                    </a:cubicBezTo>
                    <a:cubicBezTo>
                      <a:pt x="1378" y="36"/>
                      <a:pt x="1367" y="56"/>
                      <a:pt x="1367" y="76"/>
                    </a:cubicBezTo>
                    <a:cubicBezTo>
                      <a:pt x="1367" y="90"/>
                      <a:pt x="1372" y="115"/>
                      <a:pt x="1399" y="115"/>
                    </a:cubicBezTo>
                    <a:cubicBezTo>
                      <a:pt x="1420" y="115"/>
                      <a:pt x="1432" y="108"/>
                      <a:pt x="1432" y="108"/>
                    </a:cubicBezTo>
                    <a:lnTo>
                      <a:pt x="1431" y="92"/>
                    </a:lnTo>
                    <a:cubicBezTo>
                      <a:pt x="1431" y="92"/>
                      <a:pt x="1416" y="100"/>
                      <a:pt x="1402" y="100"/>
                    </a:cubicBezTo>
                    <a:cubicBezTo>
                      <a:pt x="1393" y="100"/>
                      <a:pt x="1389" y="94"/>
                      <a:pt x="1389" y="80"/>
                    </a:cubicBezTo>
                    <a:lnTo>
                      <a:pt x="1433" y="80"/>
                    </a:lnTo>
                    <a:cubicBezTo>
                      <a:pt x="1433" y="80"/>
                      <a:pt x="1433" y="76"/>
                      <a:pt x="1433" y="74"/>
                    </a:cubicBezTo>
                    <a:moveTo>
                      <a:pt x="1332" y="75"/>
                    </a:moveTo>
                    <a:cubicBezTo>
                      <a:pt x="1332" y="93"/>
                      <a:pt x="1326" y="99"/>
                      <a:pt x="1319" y="99"/>
                    </a:cubicBezTo>
                    <a:cubicBezTo>
                      <a:pt x="1316" y="99"/>
                      <a:pt x="1310" y="97"/>
                      <a:pt x="1304" y="94"/>
                    </a:cubicBezTo>
                    <a:lnTo>
                      <a:pt x="1304" y="59"/>
                    </a:lnTo>
                    <a:cubicBezTo>
                      <a:pt x="1310" y="54"/>
                      <a:pt x="1316" y="53"/>
                      <a:pt x="1320" y="53"/>
                    </a:cubicBezTo>
                    <a:cubicBezTo>
                      <a:pt x="1330" y="53"/>
                      <a:pt x="1332" y="67"/>
                      <a:pt x="1332" y="75"/>
                    </a:cubicBezTo>
                    <a:close/>
                    <a:moveTo>
                      <a:pt x="1353" y="76"/>
                    </a:moveTo>
                    <a:cubicBezTo>
                      <a:pt x="1353" y="60"/>
                      <a:pt x="1349" y="36"/>
                      <a:pt x="1324" y="36"/>
                    </a:cubicBezTo>
                    <a:cubicBezTo>
                      <a:pt x="1315" y="36"/>
                      <a:pt x="1306" y="43"/>
                      <a:pt x="1304" y="44"/>
                    </a:cubicBezTo>
                    <a:cubicBezTo>
                      <a:pt x="1304" y="44"/>
                      <a:pt x="1304" y="39"/>
                      <a:pt x="1304" y="36"/>
                    </a:cubicBezTo>
                    <a:lnTo>
                      <a:pt x="1304" y="2"/>
                    </a:lnTo>
                    <a:lnTo>
                      <a:pt x="1284" y="4"/>
                    </a:lnTo>
                    <a:lnTo>
                      <a:pt x="1284" y="98"/>
                    </a:lnTo>
                    <a:cubicBezTo>
                      <a:pt x="1284" y="105"/>
                      <a:pt x="1283" y="114"/>
                      <a:pt x="1283" y="114"/>
                    </a:cubicBezTo>
                    <a:lnTo>
                      <a:pt x="1302" y="114"/>
                    </a:lnTo>
                    <a:cubicBezTo>
                      <a:pt x="1303" y="112"/>
                      <a:pt x="1303" y="109"/>
                      <a:pt x="1303" y="108"/>
                    </a:cubicBezTo>
                    <a:cubicBezTo>
                      <a:pt x="1304" y="109"/>
                      <a:pt x="1313" y="115"/>
                      <a:pt x="1324" y="115"/>
                    </a:cubicBezTo>
                    <a:cubicBezTo>
                      <a:pt x="1342" y="115"/>
                      <a:pt x="1353" y="98"/>
                      <a:pt x="1353" y="76"/>
                    </a:cubicBezTo>
                    <a:moveTo>
                      <a:pt x="1245" y="68"/>
                    </a:moveTo>
                    <a:lnTo>
                      <a:pt x="1221" y="68"/>
                    </a:lnTo>
                    <a:cubicBezTo>
                      <a:pt x="1221" y="62"/>
                      <a:pt x="1223" y="51"/>
                      <a:pt x="1232" y="51"/>
                    </a:cubicBezTo>
                    <a:cubicBezTo>
                      <a:pt x="1243" y="51"/>
                      <a:pt x="1245" y="62"/>
                      <a:pt x="1245" y="68"/>
                    </a:cubicBezTo>
                    <a:close/>
                    <a:moveTo>
                      <a:pt x="1265" y="74"/>
                    </a:moveTo>
                    <a:cubicBezTo>
                      <a:pt x="1265" y="56"/>
                      <a:pt x="1258" y="36"/>
                      <a:pt x="1232" y="36"/>
                    </a:cubicBezTo>
                    <a:cubicBezTo>
                      <a:pt x="1210" y="36"/>
                      <a:pt x="1199" y="56"/>
                      <a:pt x="1199" y="76"/>
                    </a:cubicBezTo>
                    <a:cubicBezTo>
                      <a:pt x="1199" y="90"/>
                      <a:pt x="1204" y="115"/>
                      <a:pt x="1231" y="115"/>
                    </a:cubicBezTo>
                    <a:cubicBezTo>
                      <a:pt x="1251" y="115"/>
                      <a:pt x="1264" y="108"/>
                      <a:pt x="1264" y="108"/>
                    </a:cubicBezTo>
                    <a:lnTo>
                      <a:pt x="1263" y="92"/>
                    </a:lnTo>
                    <a:cubicBezTo>
                      <a:pt x="1263" y="92"/>
                      <a:pt x="1248" y="100"/>
                      <a:pt x="1234" y="100"/>
                    </a:cubicBezTo>
                    <a:cubicBezTo>
                      <a:pt x="1225" y="100"/>
                      <a:pt x="1221" y="94"/>
                      <a:pt x="1221" y="80"/>
                    </a:cubicBezTo>
                    <a:lnTo>
                      <a:pt x="1265" y="80"/>
                    </a:lnTo>
                    <a:cubicBezTo>
                      <a:pt x="1265" y="80"/>
                      <a:pt x="1265" y="76"/>
                      <a:pt x="1265" y="74"/>
                    </a:cubicBezTo>
                    <a:moveTo>
                      <a:pt x="1188" y="114"/>
                    </a:moveTo>
                    <a:lnTo>
                      <a:pt x="1188" y="95"/>
                    </a:lnTo>
                    <a:lnTo>
                      <a:pt x="1145" y="95"/>
                    </a:lnTo>
                    <a:lnTo>
                      <a:pt x="1145" y="11"/>
                    </a:lnTo>
                    <a:lnTo>
                      <a:pt x="1124" y="11"/>
                    </a:lnTo>
                    <a:lnTo>
                      <a:pt x="1124" y="114"/>
                    </a:lnTo>
                    <a:lnTo>
                      <a:pt x="1188" y="114"/>
                    </a:lnTo>
                    <a:close/>
                    <a:moveTo>
                      <a:pt x="1073" y="104"/>
                    </a:moveTo>
                    <a:cubicBezTo>
                      <a:pt x="1073" y="98"/>
                      <a:pt x="1069" y="92"/>
                      <a:pt x="1061" y="92"/>
                    </a:cubicBezTo>
                    <a:cubicBezTo>
                      <a:pt x="1053" y="92"/>
                      <a:pt x="1048" y="98"/>
                      <a:pt x="1048" y="104"/>
                    </a:cubicBezTo>
                    <a:cubicBezTo>
                      <a:pt x="1048" y="110"/>
                      <a:pt x="1053" y="116"/>
                      <a:pt x="1061" y="116"/>
                    </a:cubicBezTo>
                    <a:cubicBezTo>
                      <a:pt x="1069" y="116"/>
                      <a:pt x="1073" y="110"/>
                      <a:pt x="1073" y="104"/>
                    </a:cubicBezTo>
                    <a:close/>
                    <a:moveTo>
                      <a:pt x="1053" y="38"/>
                    </a:moveTo>
                    <a:cubicBezTo>
                      <a:pt x="1053" y="38"/>
                      <a:pt x="1052" y="37"/>
                      <a:pt x="1044" y="37"/>
                    </a:cubicBezTo>
                    <a:cubicBezTo>
                      <a:pt x="1038" y="37"/>
                      <a:pt x="1032" y="42"/>
                      <a:pt x="1029" y="45"/>
                    </a:cubicBezTo>
                    <a:cubicBezTo>
                      <a:pt x="1029" y="46"/>
                      <a:pt x="1028" y="47"/>
                      <a:pt x="1028" y="47"/>
                    </a:cubicBezTo>
                    <a:cubicBezTo>
                      <a:pt x="1028" y="43"/>
                      <a:pt x="1027" y="38"/>
                      <a:pt x="1027" y="38"/>
                    </a:cubicBezTo>
                    <a:lnTo>
                      <a:pt x="1007" y="38"/>
                    </a:lnTo>
                    <a:cubicBezTo>
                      <a:pt x="1007" y="38"/>
                      <a:pt x="1008" y="47"/>
                      <a:pt x="1008" y="56"/>
                    </a:cubicBezTo>
                    <a:lnTo>
                      <a:pt x="1008" y="114"/>
                    </a:lnTo>
                    <a:lnTo>
                      <a:pt x="1029" y="114"/>
                    </a:lnTo>
                    <a:lnTo>
                      <a:pt x="1029" y="60"/>
                    </a:lnTo>
                    <a:cubicBezTo>
                      <a:pt x="1034" y="56"/>
                      <a:pt x="1039" y="53"/>
                      <a:pt x="1041" y="53"/>
                    </a:cubicBezTo>
                    <a:cubicBezTo>
                      <a:pt x="1047" y="53"/>
                      <a:pt x="1051" y="54"/>
                      <a:pt x="1051" y="54"/>
                    </a:cubicBezTo>
                    <a:lnTo>
                      <a:pt x="1053" y="38"/>
                    </a:lnTo>
                    <a:close/>
                    <a:moveTo>
                      <a:pt x="970" y="68"/>
                    </a:moveTo>
                    <a:lnTo>
                      <a:pt x="946" y="68"/>
                    </a:lnTo>
                    <a:cubicBezTo>
                      <a:pt x="946" y="62"/>
                      <a:pt x="948" y="51"/>
                      <a:pt x="958" y="51"/>
                    </a:cubicBezTo>
                    <a:cubicBezTo>
                      <a:pt x="968" y="51"/>
                      <a:pt x="970" y="62"/>
                      <a:pt x="970" y="68"/>
                    </a:cubicBezTo>
                    <a:close/>
                    <a:moveTo>
                      <a:pt x="990" y="74"/>
                    </a:moveTo>
                    <a:cubicBezTo>
                      <a:pt x="990" y="56"/>
                      <a:pt x="983" y="36"/>
                      <a:pt x="958" y="36"/>
                    </a:cubicBezTo>
                    <a:cubicBezTo>
                      <a:pt x="935" y="36"/>
                      <a:pt x="925" y="56"/>
                      <a:pt x="925" y="76"/>
                    </a:cubicBezTo>
                    <a:cubicBezTo>
                      <a:pt x="925" y="90"/>
                      <a:pt x="929" y="115"/>
                      <a:pt x="956" y="115"/>
                    </a:cubicBezTo>
                    <a:cubicBezTo>
                      <a:pt x="977" y="115"/>
                      <a:pt x="989" y="108"/>
                      <a:pt x="989" y="108"/>
                    </a:cubicBezTo>
                    <a:lnTo>
                      <a:pt x="988" y="92"/>
                    </a:lnTo>
                    <a:cubicBezTo>
                      <a:pt x="988" y="92"/>
                      <a:pt x="974" y="100"/>
                      <a:pt x="960" y="100"/>
                    </a:cubicBezTo>
                    <a:cubicBezTo>
                      <a:pt x="951" y="100"/>
                      <a:pt x="946" y="94"/>
                      <a:pt x="946" y="80"/>
                    </a:cubicBezTo>
                    <a:lnTo>
                      <a:pt x="990" y="80"/>
                    </a:lnTo>
                    <a:cubicBezTo>
                      <a:pt x="990" y="80"/>
                      <a:pt x="990" y="76"/>
                      <a:pt x="990" y="74"/>
                    </a:cubicBezTo>
                    <a:moveTo>
                      <a:pt x="911" y="91"/>
                    </a:moveTo>
                    <a:cubicBezTo>
                      <a:pt x="911" y="73"/>
                      <a:pt x="894" y="70"/>
                      <a:pt x="882" y="64"/>
                    </a:cubicBezTo>
                    <a:cubicBezTo>
                      <a:pt x="879" y="63"/>
                      <a:pt x="876" y="61"/>
                      <a:pt x="876" y="58"/>
                    </a:cubicBezTo>
                    <a:cubicBezTo>
                      <a:pt x="876" y="56"/>
                      <a:pt x="878" y="52"/>
                      <a:pt x="884" y="52"/>
                    </a:cubicBezTo>
                    <a:cubicBezTo>
                      <a:pt x="894" y="52"/>
                      <a:pt x="906" y="57"/>
                      <a:pt x="906" y="57"/>
                    </a:cubicBezTo>
                    <a:lnTo>
                      <a:pt x="907" y="40"/>
                    </a:lnTo>
                    <a:cubicBezTo>
                      <a:pt x="907" y="40"/>
                      <a:pt x="897" y="36"/>
                      <a:pt x="885" y="36"/>
                    </a:cubicBezTo>
                    <a:cubicBezTo>
                      <a:pt x="870" y="36"/>
                      <a:pt x="857" y="44"/>
                      <a:pt x="857" y="60"/>
                    </a:cubicBezTo>
                    <a:cubicBezTo>
                      <a:pt x="857" y="77"/>
                      <a:pt x="874" y="80"/>
                      <a:pt x="885" y="85"/>
                    </a:cubicBezTo>
                    <a:cubicBezTo>
                      <a:pt x="889" y="87"/>
                      <a:pt x="892" y="89"/>
                      <a:pt x="892" y="92"/>
                    </a:cubicBezTo>
                    <a:cubicBezTo>
                      <a:pt x="892" y="96"/>
                      <a:pt x="888" y="99"/>
                      <a:pt x="883" y="99"/>
                    </a:cubicBezTo>
                    <a:cubicBezTo>
                      <a:pt x="872" y="99"/>
                      <a:pt x="857" y="91"/>
                      <a:pt x="857" y="91"/>
                    </a:cubicBezTo>
                    <a:lnTo>
                      <a:pt x="856" y="110"/>
                    </a:lnTo>
                    <a:cubicBezTo>
                      <a:pt x="856" y="110"/>
                      <a:pt x="869" y="116"/>
                      <a:pt x="883" y="116"/>
                    </a:cubicBezTo>
                    <a:cubicBezTo>
                      <a:pt x="898" y="116"/>
                      <a:pt x="911" y="108"/>
                      <a:pt x="911" y="91"/>
                    </a:cubicBezTo>
                    <a:close/>
                    <a:moveTo>
                      <a:pt x="843" y="91"/>
                    </a:moveTo>
                    <a:cubicBezTo>
                      <a:pt x="843" y="73"/>
                      <a:pt x="826" y="70"/>
                      <a:pt x="813" y="64"/>
                    </a:cubicBezTo>
                    <a:cubicBezTo>
                      <a:pt x="810" y="63"/>
                      <a:pt x="807" y="61"/>
                      <a:pt x="807" y="58"/>
                    </a:cubicBezTo>
                    <a:cubicBezTo>
                      <a:pt x="807" y="56"/>
                      <a:pt x="809" y="52"/>
                      <a:pt x="815" y="52"/>
                    </a:cubicBezTo>
                    <a:cubicBezTo>
                      <a:pt x="825" y="52"/>
                      <a:pt x="837" y="57"/>
                      <a:pt x="837" y="57"/>
                    </a:cubicBezTo>
                    <a:lnTo>
                      <a:pt x="838" y="40"/>
                    </a:lnTo>
                    <a:cubicBezTo>
                      <a:pt x="838" y="40"/>
                      <a:pt x="828" y="36"/>
                      <a:pt x="816" y="36"/>
                    </a:cubicBezTo>
                    <a:cubicBezTo>
                      <a:pt x="801" y="36"/>
                      <a:pt x="788" y="44"/>
                      <a:pt x="788" y="60"/>
                    </a:cubicBezTo>
                    <a:cubicBezTo>
                      <a:pt x="788" y="77"/>
                      <a:pt x="805" y="80"/>
                      <a:pt x="817" y="85"/>
                    </a:cubicBezTo>
                    <a:cubicBezTo>
                      <a:pt x="820" y="87"/>
                      <a:pt x="823" y="89"/>
                      <a:pt x="823" y="92"/>
                    </a:cubicBezTo>
                    <a:cubicBezTo>
                      <a:pt x="823" y="96"/>
                      <a:pt x="819" y="99"/>
                      <a:pt x="815" y="99"/>
                    </a:cubicBezTo>
                    <a:cubicBezTo>
                      <a:pt x="803" y="99"/>
                      <a:pt x="788" y="91"/>
                      <a:pt x="788" y="91"/>
                    </a:cubicBezTo>
                    <a:lnTo>
                      <a:pt x="787" y="110"/>
                    </a:lnTo>
                    <a:cubicBezTo>
                      <a:pt x="787" y="110"/>
                      <a:pt x="800" y="116"/>
                      <a:pt x="814" y="116"/>
                    </a:cubicBezTo>
                    <a:cubicBezTo>
                      <a:pt x="829" y="116"/>
                      <a:pt x="843" y="108"/>
                      <a:pt x="843" y="91"/>
                    </a:cubicBezTo>
                    <a:close/>
                    <a:moveTo>
                      <a:pt x="749" y="94"/>
                    </a:moveTo>
                    <a:cubicBezTo>
                      <a:pt x="747" y="96"/>
                      <a:pt x="742" y="100"/>
                      <a:pt x="736" y="100"/>
                    </a:cubicBezTo>
                    <a:cubicBezTo>
                      <a:pt x="731" y="100"/>
                      <a:pt x="729" y="95"/>
                      <a:pt x="729" y="91"/>
                    </a:cubicBezTo>
                    <a:cubicBezTo>
                      <a:pt x="729" y="89"/>
                      <a:pt x="730" y="87"/>
                      <a:pt x="732" y="85"/>
                    </a:cubicBezTo>
                    <a:cubicBezTo>
                      <a:pt x="736" y="81"/>
                      <a:pt x="746" y="80"/>
                      <a:pt x="749" y="80"/>
                    </a:cubicBezTo>
                    <a:lnTo>
                      <a:pt x="749" y="94"/>
                    </a:lnTo>
                    <a:close/>
                    <a:moveTo>
                      <a:pt x="771" y="114"/>
                    </a:moveTo>
                    <a:cubicBezTo>
                      <a:pt x="771" y="114"/>
                      <a:pt x="770" y="107"/>
                      <a:pt x="770" y="98"/>
                    </a:cubicBezTo>
                    <a:lnTo>
                      <a:pt x="770" y="62"/>
                    </a:lnTo>
                    <a:cubicBezTo>
                      <a:pt x="770" y="54"/>
                      <a:pt x="769" y="48"/>
                      <a:pt x="765" y="43"/>
                    </a:cubicBezTo>
                    <a:cubicBezTo>
                      <a:pt x="761" y="39"/>
                      <a:pt x="755" y="36"/>
                      <a:pt x="745" y="36"/>
                    </a:cubicBezTo>
                    <a:cubicBezTo>
                      <a:pt x="729" y="36"/>
                      <a:pt x="714" y="43"/>
                      <a:pt x="714" y="43"/>
                    </a:cubicBezTo>
                    <a:lnTo>
                      <a:pt x="715" y="59"/>
                    </a:lnTo>
                    <a:cubicBezTo>
                      <a:pt x="720" y="56"/>
                      <a:pt x="731" y="52"/>
                      <a:pt x="741" y="52"/>
                    </a:cubicBezTo>
                    <a:cubicBezTo>
                      <a:pt x="747" y="52"/>
                      <a:pt x="749" y="55"/>
                      <a:pt x="749" y="61"/>
                    </a:cubicBezTo>
                    <a:lnTo>
                      <a:pt x="749" y="69"/>
                    </a:lnTo>
                    <a:cubicBezTo>
                      <a:pt x="740" y="69"/>
                      <a:pt x="725" y="70"/>
                      <a:pt x="716" y="77"/>
                    </a:cubicBezTo>
                    <a:cubicBezTo>
                      <a:pt x="711" y="81"/>
                      <a:pt x="709" y="85"/>
                      <a:pt x="709" y="92"/>
                    </a:cubicBezTo>
                    <a:cubicBezTo>
                      <a:pt x="709" y="102"/>
                      <a:pt x="714" y="115"/>
                      <a:pt x="730" y="115"/>
                    </a:cubicBezTo>
                    <a:cubicBezTo>
                      <a:pt x="741" y="115"/>
                      <a:pt x="751" y="107"/>
                      <a:pt x="751" y="107"/>
                    </a:cubicBezTo>
                    <a:cubicBezTo>
                      <a:pt x="751" y="110"/>
                      <a:pt x="751" y="114"/>
                      <a:pt x="751" y="114"/>
                    </a:cubicBezTo>
                    <a:lnTo>
                      <a:pt x="771" y="114"/>
                    </a:lnTo>
                    <a:close/>
                    <a:moveTo>
                      <a:pt x="701" y="12"/>
                    </a:moveTo>
                    <a:lnTo>
                      <a:pt x="679" y="11"/>
                    </a:lnTo>
                    <a:lnTo>
                      <a:pt x="667" y="61"/>
                    </a:lnTo>
                    <a:cubicBezTo>
                      <a:pt x="665" y="68"/>
                      <a:pt x="663" y="83"/>
                      <a:pt x="662" y="86"/>
                    </a:cubicBezTo>
                    <a:cubicBezTo>
                      <a:pt x="662" y="83"/>
                      <a:pt x="659" y="68"/>
                      <a:pt x="658" y="61"/>
                    </a:cubicBezTo>
                    <a:lnTo>
                      <a:pt x="646" y="11"/>
                    </a:lnTo>
                    <a:lnTo>
                      <a:pt x="624" y="11"/>
                    </a:lnTo>
                    <a:lnTo>
                      <a:pt x="613" y="61"/>
                    </a:lnTo>
                    <a:cubicBezTo>
                      <a:pt x="611" y="68"/>
                      <a:pt x="609" y="82"/>
                      <a:pt x="608" y="85"/>
                    </a:cubicBezTo>
                    <a:cubicBezTo>
                      <a:pt x="608" y="82"/>
                      <a:pt x="605" y="68"/>
                      <a:pt x="604" y="61"/>
                    </a:cubicBezTo>
                    <a:lnTo>
                      <a:pt x="592" y="10"/>
                    </a:lnTo>
                    <a:lnTo>
                      <a:pt x="570" y="11"/>
                    </a:lnTo>
                    <a:lnTo>
                      <a:pt x="597" y="114"/>
                    </a:lnTo>
                    <a:lnTo>
                      <a:pt x="619" y="114"/>
                    </a:lnTo>
                    <a:lnTo>
                      <a:pt x="630" y="67"/>
                    </a:lnTo>
                    <a:cubicBezTo>
                      <a:pt x="631" y="59"/>
                      <a:pt x="635" y="40"/>
                      <a:pt x="635" y="40"/>
                    </a:cubicBezTo>
                    <a:cubicBezTo>
                      <a:pt x="635" y="40"/>
                      <a:pt x="638" y="59"/>
                      <a:pt x="640" y="67"/>
                    </a:cubicBezTo>
                    <a:lnTo>
                      <a:pt x="650" y="114"/>
                    </a:lnTo>
                    <a:lnTo>
                      <a:pt x="673" y="114"/>
                    </a:lnTo>
                    <a:lnTo>
                      <a:pt x="701" y="12"/>
                    </a:lnTo>
                    <a:close/>
                    <a:moveTo>
                      <a:pt x="537" y="104"/>
                    </a:moveTo>
                    <a:cubicBezTo>
                      <a:pt x="537" y="98"/>
                      <a:pt x="533" y="92"/>
                      <a:pt x="525" y="92"/>
                    </a:cubicBezTo>
                    <a:cubicBezTo>
                      <a:pt x="516" y="92"/>
                      <a:pt x="512" y="98"/>
                      <a:pt x="512" y="104"/>
                    </a:cubicBezTo>
                    <a:cubicBezTo>
                      <a:pt x="512" y="110"/>
                      <a:pt x="516" y="116"/>
                      <a:pt x="525" y="116"/>
                    </a:cubicBezTo>
                    <a:cubicBezTo>
                      <a:pt x="533" y="116"/>
                      <a:pt x="537" y="110"/>
                      <a:pt x="537" y="104"/>
                    </a:cubicBezTo>
                    <a:close/>
                    <a:moveTo>
                      <a:pt x="476" y="68"/>
                    </a:moveTo>
                    <a:lnTo>
                      <a:pt x="452" y="68"/>
                    </a:lnTo>
                    <a:cubicBezTo>
                      <a:pt x="452" y="62"/>
                      <a:pt x="454" y="51"/>
                      <a:pt x="464" y="51"/>
                    </a:cubicBezTo>
                    <a:cubicBezTo>
                      <a:pt x="474" y="51"/>
                      <a:pt x="476" y="62"/>
                      <a:pt x="476" y="68"/>
                    </a:cubicBezTo>
                    <a:moveTo>
                      <a:pt x="496" y="74"/>
                    </a:moveTo>
                    <a:cubicBezTo>
                      <a:pt x="496" y="56"/>
                      <a:pt x="489" y="36"/>
                      <a:pt x="464" y="36"/>
                    </a:cubicBezTo>
                    <a:cubicBezTo>
                      <a:pt x="441" y="36"/>
                      <a:pt x="431" y="56"/>
                      <a:pt x="431" y="76"/>
                    </a:cubicBezTo>
                    <a:cubicBezTo>
                      <a:pt x="431" y="90"/>
                      <a:pt x="435" y="115"/>
                      <a:pt x="462" y="115"/>
                    </a:cubicBezTo>
                    <a:cubicBezTo>
                      <a:pt x="483" y="115"/>
                      <a:pt x="495" y="108"/>
                      <a:pt x="495" y="108"/>
                    </a:cubicBezTo>
                    <a:lnTo>
                      <a:pt x="494" y="92"/>
                    </a:lnTo>
                    <a:cubicBezTo>
                      <a:pt x="494" y="92"/>
                      <a:pt x="480" y="100"/>
                      <a:pt x="466" y="100"/>
                    </a:cubicBezTo>
                    <a:cubicBezTo>
                      <a:pt x="457" y="100"/>
                      <a:pt x="452" y="94"/>
                      <a:pt x="452" y="80"/>
                    </a:cubicBezTo>
                    <a:lnTo>
                      <a:pt x="496" y="80"/>
                    </a:lnTo>
                    <a:cubicBezTo>
                      <a:pt x="496" y="80"/>
                      <a:pt x="496" y="76"/>
                      <a:pt x="496" y="74"/>
                    </a:cubicBezTo>
                    <a:moveTo>
                      <a:pt x="413" y="114"/>
                    </a:moveTo>
                    <a:lnTo>
                      <a:pt x="413" y="54"/>
                    </a:lnTo>
                    <a:cubicBezTo>
                      <a:pt x="413" y="48"/>
                      <a:pt x="412" y="38"/>
                      <a:pt x="412" y="38"/>
                    </a:cubicBezTo>
                    <a:lnTo>
                      <a:pt x="393" y="38"/>
                    </a:lnTo>
                    <a:lnTo>
                      <a:pt x="393" y="114"/>
                    </a:lnTo>
                    <a:lnTo>
                      <a:pt x="413" y="114"/>
                    </a:lnTo>
                    <a:close/>
                    <a:moveTo>
                      <a:pt x="416" y="12"/>
                    </a:moveTo>
                    <a:cubicBezTo>
                      <a:pt x="416" y="6"/>
                      <a:pt x="411" y="0"/>
                      <a:pt x="403" y="0"/>
                    </a:cubicBezTo>
                    <a:cubicBezTo>
                      <a:pt x="395" y="0"/>
                      <a:pt x="391" y="6"/>
                      <a:pt x="391" y="12"/>
                    </a:cubicBezTo>
                    <a:cubicBezTo>
                      <a:pt x="391" y="18"/>
                      <a:pt x="395" y="24"/>
                      <a:pt x="403" y="24"/>
                    </a:cubicBezTo>
                    <a:cubicBezTo>
                      <a:pt x="411" y="24"/>
                      <a:pt x="416" y="18"/>
                      <a:pt x="416" y="12"/>
                    </a:cubicBezTo>
                    <a:close/>
                    <a:moveTo>
                      <a:pt x="353" y="88"/>
                    </a:moveTo>
                    <a:cubicBezTo>
                      <a:pt x="347" y="95"/>
                      <a:pt x="341" y="97"/>
                      <a:pt x="337" y="97"/>
                    </a:cubicBezTo>
                    <a:cubicBezTo>
                      <a:pt x="328" y="97"/>
                      <a:pt x="326" y="83"/>
                      <a:pt x="326" y="75"/>
                    </a:cubicBezTo>
                    <a:cubicBezTo>
                      <a:pt x="326" y="66"/>
                      <a:pt x="327" y="53"/>
                      <a:pt x="339" y="53"/>
                    </a:cubicBezTo>
                    <a:cubicBezTo>
                      <a:pt x="343" y="53"/>
                      <a:pt x="347" y="54"/>
                      <a:pt x="353" y="57"/>
                    </a:cubicBezTo>
                    <a:lnTo>
                      <a:pt x="353" y="88"/>
                    </a:lnTo>
                    <a:close/>
                    <a:moveTo>
                      <a:pt x="375" y="38"/>
                    </a:moveTo>
                    <a:lnTo>
                      <a:pt x="355" y="38"/>
                    </a:lnTo>
                    <a:cubicBezTo>
                      <a:pt x="355" y="38"/>
                      <a:pt x="354" y="40"/>
                      <a:pt x="354" y="42"/>
                    </a:cubicBezTo>
                    <a:cubicBezTo>
                      <a:pt x="352" y="41"/>
                      <a:pt x="345" y="36"/>
                      <a:pt x="336" y="36"/>
                    </a:cubicBezTo>
                    <a:cubicBezTo>
                      <a:pt x="315" y="36"/>
                      <a:pt x="305" y="53"/>
                      <a:pt x="305" y="75"/>
                    </a:cubicBezTo>
                    <a:cubicBezTo>
                      <a:pt x="305" y="90"/>
                      <a:pt x="310" y="114"/>
                      <a:pt x="332" y="114"/>
                    </a:cubicBezTo>
                    <a:cubicBezTo>
                      <a:pt x="344" y="114"/>
                      <a:pt x="352" y="105"/>
                      <a:pt x="353" y="103"/>
                    </a:cubicBezTo>
                    <a:cubicBezTo>
                      <a:pt x="353" y="103"/>
                      <a:pt x="353" y="108"/>
                      <a:pt x="353" y="110"/>
                    </a:cubicBezTo>
                    <a:lnTo>
                      <a:pt x="353" y="115"/>
                    </a:lnTo>
                    <a:cubicBezTo>
                      <a:pt x="353" y="117"/>
                      <a:pt x="353" y="119"/>
                      <a:pt x="352" y="121"/>
                    </a:cubicBezTo>
                    <a:cubicBezTo>
                      <a:pt x="351" y="125"/>
                      <a:pt x="347" y="128"/>
                      <a:pt x="338" y="128"/>
                    </a:cubicBezTo>
                    <a:cubicBezTo>
                      <a:pt x="323" y="128"/>
                      <a:pt x="310" y="122"/>
                      <a:pt x="310" y="122"/>
                    </a:cubicBezTo>
                    <a:lnTo>
                      <a:pt x="309" y="140"/>
                    </a:lnTo>
                    <a:cubicBezTo>
                      <a:pt x="309" y="140"/>
                      <a:pt x="320" y="146"/>
                      <a:pt x="338" y="146"/>
                    </a:cubicBezTo>
                    <a:cubicBezTo>
                      <a:pt x="357" y="146"/>
                      <a:pt x="369" y="139"/>
                      <a:pt x="373" y="125"/>
                    </a:cubicBezTo>
                    <a:cubicBezTo>
                      <a:pt x="373" y="122"/>
                      <a:pt x="373" y="116"/>
                      <a:pt x="373" y="112"/>
                    </a:cubicBezTo>
                    <a:lnTo>
                      <a:pt x="373" y="56"/>
                    </a:lnTo>
                    <a:cubicBezTo>
                      <a:pt x="373" y="47"/>
                      <a:pt x="375" y="38"/>
                      <a:pt x="375" y="38"/>
                    </a:cubicBezTo>
                    <a:moveTo>
                      <a:pt x="294" y="38"/>
                    </a:moveTo>
                    <a:cubicBezTo>
                      <a:pt x="294" y="38"/>
                      <a:pt x="293" y="37"/>
                      <a:pt x="285" y="37"/>
                    </a:cubicBezTo>
                    <a:cubicBezTo>
                      <a:pt x="279" y="37"/>
                      <a:pt x="273" y="42"/>
                      <a:pt x="270" y="45"/>
                    </a:cubicBezTo>
                    <a:cubicBezTo>
                      <a:pt x="270" y="46"/>
                      <a:pt x="269" y="47"/>
                      <a:pt x="269" y="47"/>
                    </a:cubicBezTo>
                    <a:cubicBezTo>
                      <a:pt x="269" y="43"/>
                      <a:pt x="268" y="38"/>
                      <a:pt x="268" y="38"/>
                    </a:cubicBezTo>
                    <a:lnTo>
                      <a:pt x="248" y="38"/>
                    </a:lnTo>
                    <a:cubicBezTo>
                      <a:pt x="248" y="38"/>
                      <a:pt x="249" y="47"/>
                      <a:pt x="249" y="56"/>
                    </a:cubicBezTo>
                    <a:lnTo>
                      <a:pt x="249" y="114"/>
                    </a:lnTo>
                    <a:lnTo>
                      <a:pt x="270" y="114"/>
                    </a:lnTo>
                    <a:lnTo>
                      <a:pt x="270" y="60"/>
                    </a:lnTo>
                    <a:cubicBezTo>
                      <a:pt x="275" y="56"/>
                      <a:pt x="279" y="53"/>
                      <a:pt x="282" y="53"/>
                    </a:cubicBezTo>
                    <a:cubicBezTo>
                      <a:pt x="288" y="53"/>
                      <a:pt x="292" y="54"/>
                      <a:pt x="292" y="54"/>
                    </a:cubicBezTo>
                    <a:lnTo>
                      <a:pt x="294" y="38"/>
                    </a:lnTo>
                    <a:close/>
                    <a:moveTo>
                      <a:pt x="211" y="68"/>
                    </a:moveTo>
                    <a:lnTo>
                      <a:pt x="187" y="68"/>
                    </a:lnTo>
                    <a:cubicBezTo>
                      <a:pt x="187" y="62"/>
                      <a:pt x="189" y="51"/>
                      <a:pt x="198" y="51"/>
                    </a:cubicBezTo>
                    <a:cubicBezTo>
                      <a:pt x="209" y="51"/>
                      <a:pt x="211" y="62"/>
                      <a:pt x="211" y="68"/>
                    </a:cubicBezTo>
                    <a:moveTo>
                      <a:pt x="231" y="74"/>
                    </a:moveTo>
                    <a:cubicBezTo>
                      <a:pt x="231" y="56"/>
                      <a:pt x="224" y="36"/>
                      <a:pt x="198" y="36"/>
                    </a:cubicBezTo>
                    <a:cubicBezTo>
                      <a:pt x="176" y="36"/>
                      <a:pt x="165" y="56"/>
                      <a:pt x="165" y="76"/>
                    </a:cubicBezTo>
                    <a:cubicBezTo>
                      <a:pt x="165" y="90"/>
                      <a:pt x="170" y="115"/>
                      <a:pt x="197" y="115"/>
                    </a:cubicBezTo>
                    <a:cubicBezTo>
                      <a:pt x="218" y="115"/>
                      <a:pt x="230" y="108"/>
                      <a:pt x="230" y="108"/>
                    </a:cubicBezTo>
                    <a:lnTo>
                      <a:pt x="229" y="92"/>
                    </a:lnTo>
                    <a:cubicBezTo>
                      <a:pt x="229" y="92"/>
                      <a:pt x="214" y="100"/>
                      <a:pt x="200" y="100"/>
                    </a:cubicBezTo>
                    <a:cubicBezTo>
                      <a:pt x="191" y="100"/>
                      <a:pt x="187" y="94"/>
                      <a:pt x="187" y="80"/>
                    </a:cubicBezTo>
                    <a:lnTo>
                      <a:pt x="231" y="80"/>
                    </a:lnTo>
                    <a:cubicBezTo>
                      <a:pt x="231" y="80"/>
                      <a:pt x="231" y="76"/>
                      <a:pt x="231" y="74"/>
                    </a:cubicBezTo>
                    <a:moveTo>
                      <a:pt x="148" y="114"/>
                    </a:moveTo>
                    <a:lnTo>
                      <a:pt x="148" y="62"/>
                    </a:lnTo>
                    <a:cubicBezTo>
                      <a:pt x="148" y="55"/>
                      <a:pt x="147" y="49"/>
                      <a:pt x="144" y="45"/>
                    </a:cubicBezTo>
                    <a:cubicBezTo>
                      <a:pt x="141" y="39"/>
                      <a:pt x="135" y="36"/>
                      <a:pt x="126" y="36"/>
                    </a:cubicBezTo>
                    <a:cubicBezTo>
                      <a:pt x="115" y="36"/>
                      <a:pt x="104" y="45"/>
                      <a:pt x="101" y="48"/>
                    </a:cubicBezTo>
                    <a:cubicBezTo>
                      <a:pt x="101" y="43"/>
                      <a:pt x="101" y="38"/>
                      <a:pt x="101" y="38"/>
                    </a:cubicBezTo>
                    <a:lnTo>
                      <a:pt x="81" y="38"/>
                    </a:lnTo>
                    <a:cubicBezTo>
                      <a:pt x="81" y="38"/>
                      <a:pt x="82" y="47"/>
                      <a:pt x="82" y="56"/>
                    </a:cubicBezTo>
                    <a:lnTo>
                      <a:pt x="82" y="114"/>
                    </a:lnTo>
                    <a:lnTo>
                      <a:pt x="102" y="114"/>
                    </a:lnTo>
                    <a:lnTo>
                      <a:pt x="102" y="62"/>
                    </a:lnTo>
                    <a:cubicBezTo>
                      <a:pt x="105" y="59"/>
                      <a:pt x="112" y="54"/>
                      <a:pt x="119" y="54"/>
                    </a:cubicBezTo>
                    <a:cubicBezTo>
                      <a:pt x="124" y="54"/>
                      <a:pt x="128" y="55"/>
                      <a:pt x="128" y="64"/>
                    </a:cubicBezTo>
                    <a:lnTo>
                      <a:pt x="128" y="114"/>
                    </a:lnTo>
                    <a:lnTo>
                      <a:pt x="148" y="114"/>
                    </a:lnTo>
                    <a:close/>
                    <a:moveTo>
                      <a:pt x="66" y="114"/>
                    </a:moveTo>
                    <a:lnTo>
                      <a:pt x="66" y="96"/>
                    </a:lnTo>
                    <a:lnTo>
                      <a:pt x="21" y="96"/>
                    </a:lnTo>
                    <a:lnTo>
                      <a:pt x="21" y="69"/>
                    </a:lnTo>
                    <a:lnTo>
                      <a:pt x="57" y="69"/>
                    </a:lnTo>
                    <a:lnTo>
                      <a:pt x="57" y="52"/>
                    </a:lnTo>
                    <a:lnTo>
                      <a:pt x="21" y="52"/>
                    </a:lnTo>
                    <a:lnTo>
                      <a:pt x="21" y="29"/>
                    </a:lnTo>
                    <a:lnTo>
                      <a:pt x="62" y="29"/>
                    </a:lnTo>
                    <a:lnTo>
                      <a:pt x="64" y="11"/>
                    </a:lnTo>
                    <a:lnTo>
                      <a:pt x="0" y="11"/>
                    </a:lnTo>
                    <a:lnTo>
                      <a:pt x="0" y="114"/>
                    </a:lnTo>
                    <a:lnTo>
                      <a:pt x="66" y="1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4" name="Freeform 39">
                <a:extLst>
                  <a:ext uri="{FF2B5EF4-FFF2-40B4-BE49-F238E27FC236}">
                    <a16:creationId xmlns:a16="http://schemas.microsoft.com/office/drawing/2014/main" id="{00F058F1-69EE-4BBD-8ADE-11F9C49B3E7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29374" y="990263"/>
                <a:ext cx="354012" cy="273050"/>
              </a:xfrm>
              <a:custGeom>
                <a:avLst/>
                <a:gdLst>
                  <a:gd name="T0" fmla="*/ 0 w 443"/>
                  <a:gd name="T1" fmla="*/ 0 h 341"/>
                  <a:gd name="T2" fmla="*/ 0 w 443"/>
                  <a:gd name="T3" fmla="*/ 217 h 341"/>
                  <a:gd name="T4" fmla="*/ 131 w 443"/>
                  <a:gd name="T5" fmla="*/ 341 h 341"/>
                  <a:gd name="T6" fmla="*/ 222 w 443"/>
                  <a:gd name="T7" fmla="*/ 300 h 341"/>
                  <a:gd name="T8" fmla="*/ 313 w 443"/>
                  <a:gd name="T9" fmla="*/ 341 h 341"/>
                  <a:gd name="T10" fmla="*/ 443 w 443"/>
                  <a:gd name="T11" fmla="*/ 217 h 341"/>
                  <a:gd name="T12" fmla="*/ 443 w 443"/>
                  <a:gd name="T13" fmla="*/ 0 h 341"/>
                  <a:gd name="T14" fmla="*/ 365 w 443"/>
                  <a:gd name="T15" fmla="*/ 0 h 341"/>
                  <a:gd name="T16" fmla="*/ 365 w 443"/>
                  <a:gd name="T17" fmla="*/ 219 h 341"/>
                  <a:gd name="T18" fmla="*/ 313 w 443"/>
                  <a:gd name="T19" fmla="*/ 268 h 341"/>
                  <a:gd name="T20" fmla="*/ 261 w 443"/>
                  <a:gd name="T21" fmla="*/ 219 h 341"/>
                  <a:gd name="T22" fmla="*/ 261 w 443"/>
                  <a:gd name="T23" fmla="*/ 0 h 341"/>
                  <a:gd name="T24" fmla="*/ 183 w 443"/>
                  <a:gd name="T25" fmla="*/ 0 h 341"/>
                  <a:gd name="T26" fmla="*/ 183 w 443"/>
                  <a:gd name="T27" fmla="*/ 219 h 341"/>
                  <a:gd name="T28" fmla="*/ 131 w 443"/>
                  <a:gd name="T29" fmla="*/ 268 h 341"/>
                  <a:gd name="T30" fmla="*/ 79 w 443"/>
                  <a:gd name="T31" fmla="*/ 219 h 341"/>
                  <a:gd name="T32" fmla="*/ 79 w 443"/>
                  <a:gd name="T33" fmla="*/ 0 h 341"/>
                  <a:gd name="T34" fmla="*/ 0 w 443"/>
                  <a:gd name="T35" fmla="*/ 0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3" h="341">
                    <a:moveTo>
                      <a:pt x="0" y="0"/>
                    </a:moveTo>
                    <a:lnTo>
                      <a:pt x="0" y="217"/>
                    </a:lnTo>
                    <a:cubicBezTo>
                      <a:pt x="0" y="285"/>
                      <a:pt x="59" y="341"/>
                      <a:pt x="131" y="341"/>
                    </a:cubicBezTo>
                    <a:cubicBezTo>
                      <a:pt x="165" y="341"/>
                      <a:pt x="205" y="322"/>
                      <a:pt x="222" y="300"/>
                    </a:cubicBezTo>
                    <a:cubicBezTo>
                      <a:pt x="239" y="322"/>
                      <a:pt x="279" y="341"/>
                      <a:pt x="313" y="341"/>
                    </a:cubicBezTo>
                    <a:cubicBezTo>
                      <a:pt x="385" y="341"/>
                      <a:pt x="443" y="285"/>
                      <a:pt x="443" y="217"/>
                    </a:cubicBezTo>
                    <a:lnTo>
                      <a:pt x="443" y="0"/>
                    </a:lnTo>
                    <a:lnTo>
                      <a:pt x="365" y="0"/>
                    </a:lnTo>
                    <a:lnTo>
                      <a:pt x="365" y="219"/>
                    </a:lnTo>
                    <a:cubicBezTo>
                      <a:pt x="365" y="246"/>
                      <a:pt x="342" y="268"/>
                      <a:pt x="313" y="268"/>
                    </a:cubicBezTo>
                    <a:cubicBezTo>
                      <a:pt x="285" y="268"/>
                      <a:pt x="261" y="246"/>
                      <a:pt x="261" y="219"/>
                    </a:cubicBezTo>
                    <a:lnTo>
                      <a:pt x="261" y="0"/>
                    </a:lnTo>
                    <a:lnTo>
                      <a:pt x="183" y="0"/>
                    </a:lnTo>
                    <a:lnTo>
                      <a:pt x="183" y="219"/>
                    </a:lnTo>
                    <a:cubicBezTo>
                      <a:pt x="183" y="246"/>
                      <a:pt x="159" y="268"/>
                      <a:pt x="131" y="268"/>
                    </a:cubicBezTo>
                    <a:cubicBezTo>
                      <a:pt x="102" y="268"/>
                      <a:pt x="79" y="246"/>
                      <a:pt x="79" y="219"/>
                    </a:cubicBez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" name="Freeform 40">
                <a:extLst>
                  <a:ext uri="{FF2B5EF4-FFF2-40B4-BE49-F238E27FC236}">
                    <a16:creationId xmlns:a16="http://schemas.microsoft.com/office/drawing/2014/main" id="{E434CE9D-1FE1-41C8-844C-417651D96A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30924" y="982325"/>
                <a:ext cx="276225" cy="277813"/>
              </a:xfrm>
              <a:custGeom>
                <a:avLst/>
                <a:gdLst>
                  <a:gd name="T0" fmla="*/ 345 w 347"/>
                  <a:gd name="T1" fmla="*/ 199 h 348"/>
                  <a:gd name="T2" fmla="*/ 347 w 347"/>
                  <a:gd name="T3" fmla="*/ 174 h 348"/>
                  <a:gd name="T4" fmla="*/ 174 w 347"/>
                  <a:gd name="T5" fmla="*/ 0 h 348"/>
                  <a:gd name="T6" fmla="*/ 0 w 347"/>
                  <a:gd name="T7" fmla="*/ 174 h 348"/>
                  <a:gd name="T8" fmla="*/ 174 w 347"/>
                  <a:gd name="T9" fmla="*/ 348 h 348"/>
                  <a:gd name="T10" fmla="*/ 336 w 347"/>
                  <a:gd name="T11" fmla="*/ 237 h 348"/>
                  <a:gd name="T12" fmla="*/ 254 w 347"/>
                  <a:gd name="T13" fmla="*/ 237 h 348"/>
                  <a:gd name="T14" fmla="*/ 174 w 347"/>
                  <a:gd name="T15" fmla="*/ 276 h 348"/>
                  <a:gd name="T16" fmla="*/ 71 w 347"/>
                  <a:gd name="T17" fmla="*/ 174 h 348"/>
                  <a:gd name="T18" fmla="*/ 174 w 347"/>
                  <a:gd name="T19" fmla="*/ 71 h 348"/>
                  <a:gd name="T20" fmla="*/ 265 w 347"/>
                  <a:gd name="T21" fmla="*/ 128 h 348"/>
                  <a:gd name="T22" fmla="*/ 141 w 347"/>
                  <a:gd name="T23" fmla="*/ 128 h 348"/>
                  <a:gd name="T24" fmla="*/ 141 w 347"/>
                  <a:gd name="T25" fmla="*/ 199 h 348"/>
                  <a:gd name="T26" fmla="*/ 345 w 347"/>
                  <a:gd name="T27" fmla="*/ 199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7" h="348">
                    <a:moveTo>
                      <a:pt x="345" y="199"/>
                    </a:moveTo>
                    <a:cubicBezTo>
                      <a:pt x="347" y="191"/>
                      <a:pt x="347" y="183"/>
                      <a:pt x="347" y="174"/>
                    </a:cubicBezTo>
                    <a:cubicBezTo>
                      <a:pt x="347" y="78"/>
                      <a:pt x="270" y="0"/>
                      <a:pt x="174" y="0"/>
                    </a:cubicBezTo>
                    <a:cubicBezTo>
                      <a:pt x="78" y="0"/>
                      <a:pt x="0" y="78"/>
                      <a:pt x="0" y="174"/>
                    </a:cubicBezTo>
                    <a:cubicBezTo>
                      <a:pt x="0" y="270"/>
                      <a:pt x="78" y="348"/>
                      <a:pt x="174" y="348"/>
                    </a:cubicBezTo>
                    <a:cubicBezTo>
                      <a:pt x="248" y="348"/>
                      <a:pt x="310" y="301"/>
                      <a:pt x="336" y="237"/>
                    </a:cubicBezTo>
                    <a:lnTo>
                      <a:pt x="254" y="237"/>
                    </a:lnTo>
                    <a:cubicBezTo>
                      <a:pt x="235" y="260"/>
                      <a:pt x="206" y="276"/>
                      <a:pt x="174" y="276"/>
                    </a:cubicBezTo>
                    <a:cubicBezTo>
                      <a:pt x="117" y="276"/>
                      <a:pt x="71" y="230"/>
                      <a:pt x="71" y="174"/>
                    </a:cubicBezTo>
                    <a:cubicBezTo>
                      <a:pt x="71" y="117"/>
                      <a:pt x="117" y="71"/>
                      <a:pt x="174" y="71"/>
                    </a:cubicBezTo>
                    <a:cubicBezTo>
                      <a:pt x="214" y="71"/>
                      <a:pt x="248" y="95"/>
                      <a:pt x="265" y="128"/>
                    </a:cubicBezTo>
                    <a:lnTo>
                      <a:pt x="141" y="128"/>
                    </a:lnTo>
                    <a:lnTo>
                      <a:pt x="141" y="199"/>
                    </a:lnTo>
                    <a:lnTo>
                      <a:pt x="345" y="19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6" name="Freeform 41">
                <a:extLst>
                  <a:ext uri="{FF2B5EF4-FFF2-40B4-BE49-F238E27FC236}">
                    <a16:creationId xmlns:a16="http://schemas.microsoft.com/office/drawing/2014/main" id="{BBB5E07F-A6F4-4315-AD65-C9C277A678F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34061" y="868025"/>
                <a:ext cx="276225" cy="395288"/>
              </a:xfrm>
              <a:custGeom>
                <a:avLst/>
                <a:gdLst>
                  <a:gd name="T0" fmla="*/ 273 w 347"/>
                  <a:gd name="T1" fmla="*/ 0 h 496"/>
                  <a:gd name="T2" fmla="*/ 273 w 347"/>
                  <a:gd name="T3" fmla="*/ 184 h 496"/>
                  <a:gd name="T4" fmla="*/ 173 w 347"/>
                  <a:gd name="T5" fmla="*/ 150 h 496"/>
                  <a:gd name="T6" fmla="*/ 0 w 347"/>
                  <a:gd name="T7" fmla="*/ 323 h 496"/>
                  <a:gd name="T8" fmla="*/ 173 w 347"/>
                  <a:gd name="T9" fmla="*/ 496 h 496"/>
                  <a:gd name="T10" fmla="*/ 273 w 347"/>
                  <a:gd name="T11" fmla="*/ 463 h 496"/>
                  <a:gd name="T12" fmla="*/ 273 w 347"/>
                  <a:gd name="T13" fmla="*/ 492 h 496"/>
                  <a:gd name="T14" fmla="*/ 347 w 347"/>
                  <a:gd name="T15" fmla="*/ 492 h 496"/>
                  <a:gd name="T16" fmla="*/ 347 w 347"/>
                  <a:gd name="T17" fmla="*/ 0 h 496"/>
                  <a:gd name="T18" fmla="*/ 273 w 347"/>
                  <a:gd name="T19" fmla="*/ 0 h 496"/>
                  <a:gd name="T20" fmla="*/ 196 w 347"/>
                  <a:gd name="T21" fmla="*/ 421 h 496"/>
                  <a:gd name="T22" fmla="*/ 173 w 347"/>
                  <a:gd name="T23" fmla="*/ 425 h 496"/>
                  <a:gd name="T24" fmla="*/ 134 w 347"/>
                  <a:gd name="T25" fmla="*/ 416 h 496"/>
                  <a:gd name="T26" fmla="*/ 71 w 347"/>
                  <a:gd name="T27" fmla="*/ 321 h 496"/>
                  <a:gd name="T28" fmla="*/ 173 w 347"/>
                  <a:gd name="T29" fmla="*/ 219 h 496"/>
                  <a:gd name="T30" fmla="*/ 276 w 347"/>
                  <a:gd name="T31" fmla="*/ 321 h 496"/>
                  <a:gd name="T32" fmla="*/ 196 w 347"/>
                  <a:gd name="T33" fmla="*/ 421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7" h="496">
                    <a:moveTo>
                      <a:pt x="273" y="0"/>
                    </a:moveTo>
                    <a:lnTo>
                      <a:pt x="273" y="184"/>
                    </a:lnTo>
                    <a:cubicBezTo>
                      <a:pt x="245" y="163"/>
                      <a:pt x="211" y="150"/>
                      <a:pt x="173" y="150"/>
                    </a:cubicBezTo>
                    <a:cubicBezTo>
                      <a:pt x="77" y="150"/>
                      <a:pt x="0" y="227"/>
                      <a:pt x="0" y="323"/>
                    </a:cubicBezTo>
                    <a:cubicBezTo>
                      <a:pt x="0" y="418"/>
                      <a:pt x="77" y="496"/>
                      <a:pt x="173" y="496"/>
                    </a:cubicBezTo>
                    <a:cubicBezTo>
                      <a:pt x="211" y="496"/>
                      <a:pt x="245" y="484"/>
                      <a:pt x="273" y="463"/>
                    </a:cubicBezTo>
                    <a:lnTo>
                      <a:pt x="273" y="492"/>
                    </a:lnTo>
                    <a:lnTo>
                      <a:pt x="347" y="492"/>
                    </a:lnTo>
                    <a:lnTo>
                      <a:pt x="347" y="0"/>
                    </a:lnTo>
                    <a:lnTo>
                      <a:pt x="273" y="0"/>
                    </a:lnTo>
                    <a:close/>
                    <a:moveTo>
                      <a:pt x="196" y="421"/>
                    </a:moveTo>
                    <a:cubicBezTo>
                      <a:pt x="189" y="423"/>
                      <a:pt x="181" y="425"/>
                      <a:pt x="173" y="425"/>
                    </a:cubicBezTo>
                    <a:cubicBezTo>
                      <a:pt x="159" y="425"/>
                      <a:pt x="146" y="421"/>
                      <a:pt x="134" y="416"/>
                    </a:cubicBezTo>
                    <a:cubicBezTo>
                      <a:pt x="97" y="401"/>
                      <a:pt x="71" y="364"/>
                      <a:pt x="71" y="321"/>
                    </a:cubicBezTo>
                    <a:cubicBezTo>
                      <a:pt x="71" y="265"/>
                      <a:pt x="117" y="219"/>
                      <a:pt x="173" y="219"/>
                    </a:cubicBezTo>
                    <a:cubicBezTo>
                      <a:pt x="230" y="219"/>
                      <a:pt x="276" y="265"/>
                      <a:pt x="276" y="321"/>
                    </a:cubicBezTo>
                    <a:cubicBezTo>
                      <a:pt x="276" y="370"/>
                      <a:pt x="242" y="411"/>
                      <a:pt x="196" y="42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7" name="Freeform 42">
                <a:extLst>
                  <a:ext uri="{FF2B5EF4-FFF2-40B4-BE49-F238E27FC236}">
                    <a16:creationId xmlns:a16="http://schemas.microsoft.com/office/drawing/2014/main" id="{9AF2ED87-6699-4980-BBB8-7F6D1D4D718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868025"/>
                <a:ext cx="277812" cy="395288"/>
              </a:xfrm>
              <a:custGeom>
                <a:avLst/>
                <a:gdLst>
                  <a:gd name="T0" fmla="*/ 175 w 348"/>
                  <a:gd name="T1" fmla="*/ 150 h 496"/>
                  <a:gd name="T2" fmla="*/ 75 w 348"/>
                  <a:gd name="T3" fmla="*/ 184 h 496"/>
                  <a:gd name="T4" fmla="*/ 75 w 348"/>
                  <a:gd name="T5" fmla="*/ 0 h 496"/>
                  <a:gd name="T6" fmla="*/ 0 w 348"/>
                  <a:gd name="T7" fmla="*/ 0 h 496"/>
                  <a:gd name="T8" fmla="*/ 0 w 348"/>
                  <a:gd name="T9" fmla="*/ 492 h 496"/>
                  <a:gd name="T10" fmla="*/ 75 w 348"/>
                  <a:gd name="T11" fmla="*/ 492 h 496"/>
                  <a:gd name="T12" fmla="*/ 75 w 348"/>
                  <a:gd name="T13" fmla="*/ 463 h 496"/>
                  <a:gd name="T14" fmla="*/ 175 w 348"/>
                  <a:gd name="T15" fmla="*/ 496 h 496"/>
                  <a:gd name="T16" fmla="*/ 348 w 348"/>
                  <a:gd name="T17" fmla="*/ 323 h 496"/>
                  <a:gd name="T18" fmla="*/ 175 w 348"/>
                  <a:gd name="T19" fmla="*/ 150 h 496"/>
                  <a:gd name="T20" fmla="*/ 214 w 348"/>
                  <a:gd name="T21" fmla="*/ 416 h 496"/>
                  <a:gd name="T22" fmla="*/ 175 w 348"/>
                  <a:gd name="T23" fmla="*/ 425 h 496"/>
                  <a:gd name="T24" fmla="*/ 152 w 348"/>
                  <a:gd name="T25" fmla="*/ 421 h 496"/>
                  <a:gd name="T26" fmla="*/ 72 w 348"/>
                  <a:gd name="T27" fmla="*/ 321 h 496"/>
                  <a:gd name="T28" fmla="*/ 175 w 348"/>
                  <a:gd name="T29" fmla="*/ 219 h 496"/>
                  <a:gd name="T30" fmla="*/ 277 w 348"/>
                  <a:gd name="T31" fmla="*/ 321 h 496"/>
                  <a:gd name="T32" fmla="*/ 214 w 348"/>
                  <a:gd name="T33" fmla="*/ 41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8" h="496">
                    <a:moveTo>
                      <a:pt x="175" y="150"/>
                    </a:moveTo>
                    <a:cubicBezTo>
                      <a:pt x="137" y="150"/>
                      <a:pt x="103" y="163"/>
                      <a:pt x="75" y="184"/>
                    </a:cubicBezTo>
                    <a:lnTo>
                      <a:pt x="75" y="0"/>
                    </a:lnTo>
                    <a:lnTo>
                      <a:pt x="0" y="0"/>
                    </a:lnTo>
                    <a:lnTo>
                      <a:pt x="0" y="492"/>
                    </a:lnTo>
                    <a:lnTo>
                      <a:pt x="75" y="492"/>
                    </a:lnTo>
                    <a:lnTo>
                      <a:pt x="75" y="463"/>
                    </a:lnTo>
                    <a:cubicBezTo>
                      <a:pt x="103" y="484"/>
                      <a:pt x="137" y="496"/>
                      <a:pt x="175" y="496"/>
                    </a:cubicBezTo>
                    <a:cubicBezTo>
                      <a:pt x="271" y="496"/>
                      <a:pt x="348" y="418"/>
                      <a:pt x="348" y="323"/>
                    </a:cubicBezTo>
                    <a:cubicBezTo>
                      <a:pt x="348" y="227"/>
                      <a:pt x="271" y="150"/>
                      <a:pt x="175" y="150"/>
                    </a:cubicBezTo>
                    <a:close/>
                    <a:moveTo>
                      <a:pt x="214" y="416"/>
                    </a:moveTo>
                    <a:cubicBezTo>
                      <a:pt x="202" y="421"/>
                      <a:pt x="189" y="425"/>
                      <a:pt x="175" y="425"/>
                    </a:cubicBezTo>
                    <a:cubicBezTo>
                      <a:pt x="167" y="425"/>
                      <a:pt x="159" y="423"/>
                      <a:pt x="152" y="421"/>
                    </a:cubicBezTo>
                    <a:cubicBezTo>
                      <a:pt x="106" y="411"/>
                      <a:pt x="72" y="370"/>
                      <a:pt x="72" y="321"/>
                    </a:cubicBezTo>
                    <a:cubicBezTo>
                      <a:pt x="72" y="265"/>
                      <a:pt x="118" y="219"/>
                      <a:pt x="175" y="219"/>
                    </a:cubicBezTo>
                    <a:cubicBezTo>
                      <a:pt x="231" y="219"/>
                      <a:pt x="277" y="265"/>
                      <a:pt x="277" y="321"/>
                    </a:cubicBezTo>
                    <a:cubicBezTo>
                      <a:pt x="277" y="364"/>
                      <a:pt x="251" y="401"/>
                      <a:pt x="214" y="4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18" name="Datumsplatzhalter 1">
            <a:extLst>
              <a:ext uri="{FF2B5EF4-FFF2-40B4-BE49-F238E27FC236}">
                <a16:creationId xmlns:a16="http://schemas.microsoft.com/office/drawing/2014/main" id="{43DD7F9F-2855-4830-A373-AF49F7C61D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1255" y="4680000"/>
            <a:ext cx="504000" cy="144000"/>
          </a:xfrm>
        </p:spPr>
        <p:txBody>
          <a:bodyPr/>
          <a:lstStyle/>
          <a:p>
            <a:fld id="{3A501A3A-95E7-47DF-AAFC-51CBD038C15B}" type="datetime1">
              <a:rPr lang="de-DE" smtClean="0"/>
              <a:t>24.11.2022</a:t>
            </a:fld>
            <a:endParaRPr lang="en-US"/>
          </a:p>
        </p:txBody>
      </p:sp>
      <p:sp>
        <p:nvSpPr>
          <p:cNvPr id="19" name="Fußzeilenplatzhalter 2">
            <a:extLst>
              <a:ext uri="{FF2B5EF4-FFF2-40B4-BE49-F238E27FC236}">
                <a16:creationId xmlns:a16="http://schemas.microsoft.com/office/drawing/2014/main" id="{FE266F2A-28EC-48BD-BC96-7219E0BAB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39951" y="4680000"/>
            <a:ext cx="5184000" cy="144000"/>
          </a:xfrm>
        </p:spPr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E849CC5B-DAB4-4C3E-A247-3DA19D3A26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23367" y="4680000"/>
            <a:ext cx="216000" cy="144000"/>
          </a:xfrm>
        </p:spPr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  <p:sp>
        <p:nvSpPr>
          <p:cNvPr id="21" name="Textplatzhalter 24">
            <a:extLst>
              <a:ext uri="{FF2B5EF4-FFF2-40B4-BE49-F238E27FC236}">
                <a16:creationId xmlns:a16="http://schemas.microsoft.com/office/drawing/2014/main" id="{E66F64E5-8C6D-46DC-91CA-9F9919F7293C}"/>
              </a:ext>
            </a:extLst>
          </p:cNvPr>
          <p:cNvSpPr txBox="1">
            <a:spLocks/>
          </p:cNvSpPr>
          <p:nvPr/>
        </p:nvSpPr>
        <p:spPr>
          <a:xfrm>
            <a:off x="431255" y="3816603"/>
            <a:ext cx="6480000" cy="7200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de-DE" sz="1600" b="1" dirty="0"/>
              <a:t>BDEW Bundesverband der Energie- und Wasserwirtschaft e.V.</a:t>
            </a:r>
          </a:p>
          <a:p>
            <a:pPr marL="0" indent="0">
              <a:spcBef>
                <a:spcPts val="0"/>
              </a:spcBef>
              <a:buNone/>
            </a:pPr>
            <a:r>
              <a:rPr lang="de-DE" sz="1600" dirty="0"/>
              <a:t>Reinhardtstraße 32 · 10117 Berlin</a:t>
            </a:r>
          </a:p>
          <a:p>
            <a:pPr marL="0" marR="0" lvl="0" indent="0" algn="l" defTabSz="69115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e-DE" sz="1600" dirty="0"/>
              <a:t>www.bdew.d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65B0DE1-C91A-4A7F-BB4F-FCFEEFCE8496}"/>
              </a:ext>
            </a:extLst>
          </p:cNvPr>
          <p:cNvSpPr txBox="1"/>
          <p:nvPr/>
        </p:nvSpPr>
        <p:spPr>
          <a:xfrm>
            <a:off x="1022968" y="4680000"/>
            <a:ext cx="200375" cy="144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indent="0" algn="r">
              <a:spcAft>
                <a:spcPts val="1000"/>
              </a:spcAft>
              <a:buClr>
                <a:schemeClr val="accent1"/>
              </a:buClr>
              <a:buFont typeface="Calibri" panose="020F0502020204030204" pitchFamily="34" charset="0"/>
              <a:buNone/>
            </a:pPr>
            <a:r>
              <a:rPr lang="de-DE" sz="800" dirty="0">
                <a:solidFill>
                  <a:schemeClr val="accent3"/>
                </a:solidFill>
              </a:rPr>
              <a:t>Foli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CAC1951E-B13C-448C-B9FF-CE5D407BB1A7}"/>
              </a:ext>
            </a:extLst>
          </p:cNvPr>
          <p:cNvSpPr txBox="1"/>
          <p:nvPr/>
        </p:nvSpPr>
        <p:spPr>
          <a:xfrm>
            <a:off x="431040" y="868025"/>
            <a:ext cx="6176099" cy="646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defTabSz="691157">
              <a:lnSpc>
                <a:spcPct val="90000"/>
              </a:lnSpc>
              <a:spcBef>
                <a:spcPct val="0"/>
              </a:spcBef>
              <a:buNone/>
              <a:defRPr sz="26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Vielen Dank für Ihre Aufmerksamkeit!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BC36029-6541-415E-9317-378C674F76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801" y="3096467"/>
            <a:ext cx="3096000" cy="216000"/>
          </a:xfrm>
        </p:spPr>
        <p:txBody>
          <a:bodyPr/>
          <a:lstStyle>
            <a:lvl1pPr marL="0" indent="0">
              <a:buNone/>
              <a:tabLst>
                <a:tab pos="358775" algn="l"/>
                <a:tab pos="1611313" algn="l"/>
                <a:tab pos="2333625" algn="l"/>
              </a:tabLst>
              <a:defRPr sz="1600"/>
            </a:lvl1pPr>
          </a:lstStyle>
          <a:p>
            <a:pPr lvl="0"/>
            <a:r>
              <a:rPr lang="de-DE" dirty="0"/>
              <a:t>Optional Mobilnummer</a:t>
            </a:r>
          </a:p>
        </p:txBody>
      </p: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0F90F4C6-61C6-4E68-8F42-B7E23F08BB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799" y="1800419"/>
            <a:ext cx="3096000" cy="129420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0"/>
            </a:lvl1pPr>
          </a:lstStyle>
          <a:p>
            <a:pPr lvl="0"/>
            <a:r>
              <a:rPr lang="de-DE" dirty="0"/>
              <a:t>Persönliche Angaben: Vorname Name</a:t>
            </a:r>
            <a:br>
              <a:rPr lang="de-DE" dirty="0"/>
            </a:br>
            <a:r>
              <a:rPr lang="de-DE" dirty="0"/>
              <a:t>Funktion</a:t>
            </a:r>
            <a:br>
              <a:rPr lang="de-DE" dirty="0"/>
            </a:br>
            <a:r>
              <a:rPr lang="de-DE" dirty="0"/>
              <a:t>Organisationseinheit</a:t>
            </a:r>
            <a:br>
              <a:rPr lang="de-DE" dirty="0"/>
            </a:br>
            <a:r>
              <a:rPr lang="de-DE" dirty="0" err="1"/>
              <a:t>Organisationseinheit</a:t>
            </a:r>
            <a:r>
              <a:rPr lang="de-DE" dirty="0"/>
              <a:t> zweite Zeile</a:t>
            </a:r>
          </a:p>
          <a:p>
            <a:pPr lvl="0"/>
            <a:endParaRPr lang="de-DE" dirty="0"/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23750F27-A832-4E35-9F03-7599561BF31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3312491"/>
            <a:ext cx="3096000" cy="216000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magdalena.muster@bdew.de</a:t>
            </a:r>
          </a:p>
        </p:txBody>
      </p:sp>
      <p:sp>
        <p:nvSpPr>
          <p:cNvPr id="27" name="Rectangle 2">
            <a:extLst>
              <a:ext uri="{FF2B5EF4-FFF2-40B4-BE49-F238E27FC236}">
                <a16:creationId xmlns:a16="http://schemas.microsoft.com/office/drawing/2014/main" id="{547FFF40-0024-424A-8878-534113E25261}"/>
              </a:ext>
            </a:extLst>
          </p:cNvPr>
          <p:cNvSpPr>
            <a:spLocks noChangeArrowheads="1"/>
          </p:cNvSpPr>
          <p:nvPr/>
        </p:nvSpPr>
        <p:spPr bwMode="hidden">
          <a:xfrm>
            <a:off x="144000" y="144000"/>
            <a:ext cx="8928000" cy="4896000"/>
          </a:xfrm>
          <a:prstGeom prst="rect">
            <a:avLst/>
          </a:prstGeom>
          <a:noFill/>
          <a:ln w="12700">
            <a:solidFill>
              <a:srgbClr val="C20000"/>
            </a:solidFill>
          </a:ln>
          <a:effectLst/>
        </p:spPr>
        <p:txBody>
          <a:bodyPr wrap="none" anchor="ctr"/>
          <a:lstStyle/>
          <a:p>
            <a:endParaRPr lang="de-DE" sz="1828"/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688719F6-DDD2-4D13-B133-98CB64F016FC}"/>
              </a:ext>
            </a:extLst>
          </p:cNvPr>
          <p:cNvSpPr txBox="1"/>
          <p:nvPr/>
        </p:nvSpPr>
        <p:spPr>
          <a:xfrm>
            <a:off x="431040" y="868025"/>
            <a:ext cx="6176099" cy="64611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defTabSz="691157">
              <a:lnSpc>
                <a:spcPct val="90000"/>
              </a:lnSpc>
              <a:spcBef>
                <a:spcPct val="0"/>
              </a:spcBef>
              <a:buNone/>
              <a:defRPr sz="26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Vielen Dank für Ihre Aufmerksamkeit!</a:t>
            </a:r>
          </a:p>
        </p:txBody>
      </p:sp>
      <p:sp>
        <p:nvSpPr>
          <p:cNvPr id="42" name="Textplatzhalter 31">
            <a:extLst>
              <a:ext uri="{FF2B5EF4-FFF2-40B4-BE49-F238E27FC236}">
                <a16:creationId xmlns:a16="http://schemas.microsoft.com/office/drawing/2014/main" id="{40CE4D16-94F3-43E3-8E4A-7FE8224C6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5975" y="1800419"/>
            <a:ext cx="3096000" cy="129420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0"/>
            </a:lvl1pPr>
          </a:lstStyle>
          <a:p>
            <a:pPr lvl="0"/>
            <a:r>
              <a:rPr lang="de-DE" dirty="0"/>
              <a:t>Persönliche Angaben: Vorname Name</a:t>
            </a:r>
            <a:br>
              <a:rPr lang="de-DE" dirty="0"/>
            </a:br>
            <a:r>
              <a:rPr lang="de-DE" dirty="0"/>
              <a:t>Funktion</a:t>
            </a:r>
            <a:br>
              <a:rPr lang="de-DE" dirty="0"/>
            </a:br>
            <a:r>
              <a:rPr lang="de-DE" dirty="0"/>
              <a:t>Organisationseinheit</a:t>
            </a:r>
            <a:br>
              <a:rPr lang="de-DE" dirty="0"/>
            </a:br>
            <a:r>
              <a:rPr lang="de-DE" dirty="0" err="1"/>
              <a:t>Organisationseinheit</a:t>
            </a:r>
            <a:r>
              <a:rPr lang="de-DE" dirty="0"/>
              <a:t> zweite Zeile</a:t>
            </a:r>
          </a:p>
          <a:p>
            <a:pPr lvl="0"/>
            <a:endParaRPr lang="de-DE" dirty="0"/>
          </a:p>
        </p:txBody>
      </p:sp>
      <p:sp>
        <p:nvSpPr>
          <p:cNvPr id="43" name="Textplatzhalter 24">
            <a:extLst>
              <a:ext uri="{FF2B5EF4-FFF2-40B4-BE49-F238E27FC236}">
                <a16:creationId xmlns:a16="http://schemas.microsoft.com/office/drawing/2014/main" id="{95A9D64B-3BB8-46D4-993D-1EAB95B62116}"/>
              </a:ext>
            </a:extLst>
          </p:cNvPr>
          <p:cNvSpPr txBox="1">
            <a:spLocks/>
          </p:cNvSpPr>
          <p:nvPr/>
        </p:nvSpPr>
        <p:spPr>
          <a:xfrm>
            <a:off x="3816871" y="2880419"/>
            <a:ext cx="3095104" cy="216000"/>
          </a:xfrm>
          <a:prstGeom prst="rect">
            <a:avLst/>
          </a:prstGeom>
        </p:spPr>
        <p:txBody>
          <a:bodyPr lIns="0" tIns="0" rIns="0" bIns="0"/>
          <a:lstStyle>
            <a:lvl1pPr marL="358775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C20000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58775" algn="l" defTabSz="69115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576874"/>
              </a:buClr>
              <a:buSzPct val="100000"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r>
              <a:rPr lang="de-DE" sz="1600" dirty="0"/>
              <a:t>T 	+49 30 300199-</a:t>
            </a:r>
          </a:p>
          <a:p>
            <a:pPr marL="0" indent="0">
              <a:spcBef>
                <a:spcPts val="0"/>
              </a:spcBef>
              <a:buNone/>
              <a:tabLst>
                <a:tab pos="360363" algn="l"/>
              </a:tabLst>
            </a:pPr>
            <a:br>
              <a:rPr lang="de-DE" sz="1600" dirty="0"/>
            </a:br>
            <a:endParaRPr lang="de-DE" sz="1600" dirty="0"/>
          </a:p>
        </p:txBody>
      </p:sp>
      <p:sp>
        <p:nvSpPr>
          <p:cNvPr id="44" name="Textplatzhalter 27">
            <a:extLst>
              <a:ext uri="{FF2B5EF4-FFF2-40B4-BE49-F238E27FC236}">
                <a16:creationId xmlns:a16="http://schemas.microsoft.com/office/drawing/2014/main" id="{D0F4FE24-E53D-411B-A944-D68B5C9E7F0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17416" y="3096467"/>
            <a:ext cx="3096000" cy="216000"/>
          </a:xfrm>
        </p:spPr>
        <p:txBody>
          <a:bodyPr/>
          <a:lstStyle>
            <a:lvl1pPr marL="0" indent="0">
              <a:buNone/>
              <a:tabLst>
                <a:tab pos="358775" algn="l"/>
                <a:tab pos="1611313" algn="l"/>
                <a:tab pos="2333625" algn="l"/>
              </a:tabLst>
              <a:defRPr sz="1600"/>
            </a:lvl1pPr>
          </a:lstStyle>
          <a:p>
            <a:pPr lvl="0"/>
            <a:r>
              <a:rPr lang="de-DE" dirty="0"/>
              <a:t>Optional Mobilnummer</a:t>
            </a:r>
          </a:p>
        </p:txBody>
      </p:sp>
      <p:sp>
        <p:nvSpPr>
          <p:cNvPr id="45" name="Textplatzhalter 33">
            <a:extLst>
              <a:ext uri="{FF2B5EF4-FFF2-40B4-BE49-F238E27FC236}">
                <a16:creationId xmlns:a16="http://schemas.microsoft.com/office/drawing/2014/main" id="{BB7C219F-54D0-4600-AC8C-3C44A0E1E3F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817416" y="3312491"/>
            <a:ext cx="3096000" cy="216000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magdalena.muster@bdew.de</a:t>
            </a:r>
          </a:p>
        </p:txBody>
      </p:sp>
      <p:sp>
        <p:nvSpPr>
          <p:cNvPr id="46" name="Textplatzhalter 25">
            <a:extLst>
              <a:ext uri="{FF2B5EF4-FFF2-40B4-BE49-F238E27FC236}">
                <a16:creationId xmlns:a16="http://schemas.microsoft.com/office/drawing/2014/main" id="{963A6CA7-05F5-49B8-8BF2-2B91925FEAA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71815" y="2880419"/>
            <a:ext cx="1439816" cy="216000"/>
          </a:xfrm>
        </p:spPr>
        <p:txBody>
          <a:bodyPr lIns="0" tIns="0" rIns="0" bIns="0"/>
          <a:lstStyle>
            <a:lvl1pPr marL="0" indent="0">
              <a:buNone/>
              <a:defRPr lang="de-DE" sz="1600" b="0" dirty="0" smtClean="0"/>
            </a:lvl1pPr>
          </a:lstStyle>
          <a:p>
            <a:pPr marL="360000" lvl="0" indent="-360000"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Pct val="100000"/>
            </a:pPr>
            <a:r>
              <a:rPr lang="de-DE" dirty="0"/>
              <a:t>Durchwahl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56B10FB1-6D8F-42BA-B53C-709B1D99F3B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87439" y="2880419"/>
            <a:ext cx="1439816" cy="216000"/>
          </a:xfrm>
        </p:spPr>
        <p:txBody>
          <a:bodyPr lIns="0" tIns="0" rIns="0" bIns="0"/>
          <a:lstStyle>
            <a:lvl1pPr marL="0" indent="0">
              <a:buNone/>
              <a:defRPr lang="de-DE" sz="1600" b="0" dirty="0" smtClean="0"/>
            </a:lvl1pPr>
          </a:lstStyle>
          <a:p>
            <a:pPr marL="360000" lvl="0" indent="-360000">
              <a:spcBef>
                <a:spcPts val="0"/>
              </a:spcBef>
              <a:spcAft>
                <a:spcPts val="0"/>
              </a:spcAft>
              <a:buClr>
                <a:srgbClr val="C20000"/>
              </a:buClr>
              <a:buSzPct val="100000"/>
            </a:pPr>
            <a:r>
              <a:rPr lang="de-DE" dirty="0"/>
              <a:t>Durchwahl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391256F9-C452-4506-B8D5-20A1832EFFEC}"/>
              </a:ext>
            </a:extLst>
          </p:cNvPr>
          <p:cNvGrpSpPr/>
          <p:nvPr/>
        </p:nvGrpSpPr>
        <p:grpSpPr>
          <a:xfrm>
            <a:off x="7266230" y="1944379"/>
            <a:ext cx="1799182" cy="576000"/>
            <a:chOff x="5014368" y="1905816"/>
            <a:chExt cx="1799182" cy="553594"/>
          </a:xfrm>
        </p:grpSpPr>
        <p:sp>
          <p:nvSpPr>
            <p:cNvPr id="31" name="Rectangle 64">
              <a:extLst>
                <a:ext uri="{FF2B5EF4-FFF2-40B4-BE49-F238E27FC236}">
                  <a16:creationId xmlns:a16="http://schemas.microsoft.com/office/drawing/2014/main" id="{DC375F05-0A16-49A1-AADA-E068C7666A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4368" y="1905816"/>
              <a:ext cx="1799182" cy="55359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65">
              <a:extLst>
                <a:ext uri="{FF2B5EF4-FFF2-40B4-BE49-F238E27FC236}">
                  <a16:creationId xmlns:a16="http://schemas.microsoft.com/office/drawing/2014/main" id="{4E5E2ABD-ABE1-4506-A2F4-1DA79E0E35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2756" y="2056941"/>
              <a:ext cx="1126278" cy="92266"/>
            </a:xfrm>
            <a:custGeom>
              <a:avLst/>
              <a:gdLst>
                <a:gd name="T0" fmla="*/ 1371 w 1412"/>
                <a:gd name="T1" fmla="*/ 50 h 116"/>
                <a:gd name="T2" fmla="*/ 1327 w 1412"/>
                <a:gd name="T3" fmla="*/ 28 h 116"/>
                <a:gd name="T4" fmla="*/ 1355 w 1412"/>
                <a:gd name="T5" fmla="*/ 14 h 116"/>
                <a:gd name="T6" fmla="*/ 1409 w 1412"/>
                <a:gd name="T7" fmla="*/ 50 h 116"/>
                <a:gd name="T8" fmla="*/ 1259 w 1412"/>
                <a:gd name="T9" fmla="*/ 99 h 116"/>
                <a:gd name="T10" fmla="*/ 1256 w 1412"/>
                <a:gd name="T11" fmla="*/ 91 h 116"/>
                <a:gd name="T12" fmla="*/ 1258 w 1412"/>
                <a:gd name="T13" fmla="*/ 51 h 116"/>
                <a:gd name="T14" fmla="*/ 1287 w 1412"/>
                <a:gd name="T15" fmla="*/ 114 h 116"/>
                <a:gd name="T16" fmla="*/ 1171 w 1412"/>
                <a:gd name="T17" fmla="*/ 2 h 116"/>
                <a:gd name="T18" fmla="*/ 1201 w 1412"/>
                <a:gd name="T19" fmla="*/ 114 h 116"/>
                <a:gd name="T20" fmla="*/ 1153 w 1412"/>
                <a:gd name="T21" fmla="*/ 2 h 116"/>
                <a:gd name="T22" fmla="*/ 1128 w 1412"/>
                <a:gd name="T23" fmla="*/ 55 h 116"/>
                <a:gd name="T24" fmla="*/ 1130 w 1412"/>
                <a:gd name="T25" fmla="*/ 94 h 116"/>
                <a:gd name="T26" fmla="*/ 1012 w 1412"/>
                <a:gd name="T27" fmla="*/ 93 h 116"/>
                <a:gd name="T28" fmla="*/ 1030 w 1412"/>
                <a:gd name="T29" fmla="*/ 80 h 116"/>
                <a:gd name="T30" fmla="*/ 1062 w 1412"/>
                <a:gd name="T31" fmla="*/ 43 h 116"/>
                <a:gd name="T32" fmla="*/ 1035 w 1412"/>
                <a:gd name="T33" fmla="*/ 66 h 116"/>
                <a:gd name="T34" fmla="*/ 1046 w 1412"/>
                <a:gd name="T35" fmla="*/ 114 h 116"/>
                <a:gd name="T36" fmla="*/ 958 w 1412"/>
                <a:gd name="T37" fmla="*/ 36 h 116"/>
                <a:gd name="T38" fmla="*/ 986 w 1412"/>
                <a:gd name="T39" fmla="*/ 101 h 116"/>
                <a:gd name="T40" fmla="*/ 958 w 1412"/>
                <a:gd name="T41" fmla="*/ 99 h 116"/>
                <a:gd name="T42" fmla="*/ 934 w 1412"/>
                <a:gd name="T43" fmla="*/ 34 h 116"/>
                <a:gd name="T44" fmla="*/ 895 w 1412"/>
                <a:gd name="T45" fmla="*/ 114 h 116"/>
                <a:gd name="T46" fmla="*/ 855 w 1412"/>
                <a:gd name="T47" fmla="*/ 19 h 116"/>
                <a:gd name="T48" fmla="*/ 728 w 1412"/>
                <a:gd name="T49" fmla="*/ 36 h 116"/>
                <a:gd name="T50" fmla="*/ 775 w 1412"/>
                <a:gd name="T51" fmla="*/ 36 h 116"/>
                <a:gd name="T52" fmla="*/ 821 w 1412"/>
                <a:gd name="T53" fmla="*/ 36 h 116"/>
                <a:gd name="T54" fmla="*/ 780 w 1412"/>
                <a:gd name="T55" fmla="*/ 67 h 116"/>
                <a:gd name="T56" fmla="*/ 692 w 1412"/>
                <a:gd name="T57" fmla="*/ 50 h 116"/>
                <a:gd name="T58" fmla="*/ 693 w 1412"/>
                <a:gd name="T59" fmla="*/ 66 h 116"/>
                <a:gd name="T60" fmla="*/ 607 w 1412"/>
                <a:gd name="T61" fmla="*/ 68 h 116"/>
                <a:gd name="T62" fmla="*/ 650 w 1412"/>
                <a:gd name="T63" fmla="*/ 44 h 116"/>
                <a:gd name="T64" fmla="*/ 649 w 1412"/>
                <a:gd name="T65" fmla="*/ 96 h 116"/>
                <a:gd name="T66" fmla="*/ 527 w 1412"/>
                <a:gd name="T67" fmla="*/ 93 h 116"/>
                <a:gd name="T68" fmla="*/ 545 w 1412"/>
                <a:gd name="T69" fmla="*/ 80 h 116"/>
                <a:gd name="T70" fmla="*/ 577 w 1412"/>
                <a:gd name="T71" fmla="*/ 43 h 116"/>
                <a:gd name="T72" fmla="*/ 550 w 1412"/>
                <a:gd name="T73" fmla="*/ 66 h 116"/>
                <a:gd name="T74" fmla="*/ 561 w 1412"/>
                <a:gd name="T75" fmla="*/ 114 h 116"/>
                <a:gd name="T76" fmla="*/ 490 w 1412"/>
                <a:gd name="T77" fmla="*/ 99 h 116"/>
                <a:gd name="T78" fmla="*/ 457 w 1412"/>
                <a:gd name="T79" fmla="*/ 66 h 116"/>
                <a:gd name="T80" fmla="*/ 483 w 1412"/>
                <a:gd name="T81" fmla="*/ 48 h 116"/>
                <a:gd name="T82" fmla="*/ 503 w 1412"/>
                <a:gd name="T83" fmla="*/ 76 h 116"/>
                <a:gd name="T84" fmla="*/ 451 w 1412"/>
                <a:gd name="T85" fmla="*/ 105 h 116"/>
                <a:gd name="T86" fmla="*/ 405 w 1412"/>
                <a:gd name="T87" fmla="*/ 78 h 116"/>
                <a:gd name="T88" fmla="*/ 415 w 1412"/>
                <a:gd name="T89" fmla="*/ 53 h 116"/>
                <a:gd name="T90" fmla="*/ 429 w 1412"/>
                <a:gd name="T91" fmla="*/ 43 h 116"/>
                <a:gd name="T92" fmla="*/ 379 w 1412"/>
                <a:gd name="T93" fmla="*/ 109 h 116"/>
                <a:gd name="T94" fmla="*/ 279 w 1412"/>
                <a:gd name="T95" fmla="*/ 79 h 116"/>
                <a:gd name="T96" fmla="*/ 334 w 1412"/>
                <a:gd name="T97" fmla="*/ 79 h 116"/>
                <a:gd name="T98" fmla="*/ 303 w 1412"/>
                <a:gd name="T99" fmla="*/ 35 h 116"/>
                <a:gd name="T100" fmla="*/ 182 w 1412"/>
                <a:gd name="T101" fmla="*/ 53 h 116"/>
                <a:gd name="T102" fmla="*/ 156 w 1412"/>
                <a:gd name="T103" fmla="*/ 37 h 116"/>
                <a:gd name="T104" fmla="*/ 158 w 1412"/>
                <a:gd name="T105" fmla="*/ 96 h 116"/>
                <a:gd name="T106" fmla="*/ 144 w 1412"/>
                <a:gd name="T107" fmla="*/ 105 h 116"/>
                <a:gd name="T108" fmla="*/ 106 w 1412"/>
                <a:gd name="T109" fmla="*/ 22 h 116"/>
                <a:gd name="T110" fmla="*/ 106 w 1412"/>
                <a:gd name="T111" fmla="*/ 22 h 116"/>
                <a:gd name="T112" fmla="*/ 26 w 1412"/>
                <a:gd name="T113" fmla="*/ 99 h 116"/>
                <a:gd name="T114" fmla="*/ 28 w 1412"/>
                <a:gd name="T115" fmla="*/ 11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12" h="116">
                  <a:moveTo>
                    <a:pt x="1412" y="113"/>
                  </a:moveTo>
                  <a:cubicBezTo>
                    <a:pt x="1410" y="113"/>
                    <a:pt x="1407" y="114"/>
                    <a:pt x="1405" y="115"/>
                  </a:cubicBezTo>
                  <a:cubicBezTo>
                    <a:pt x="1402" y="115"/>
                    <a:pt x="1399" y="116"/>
                    <a:pt x="1396" y="116"/>
                  </a:cubicBezTo>
                  <a:cubicBezTo>
                    <a:pt x="1391" y="116"/>
                    <a:pt x="1388" y="115"/>
                    <a:pt x="1385" y="114"/>
                  </a:cubicBezTo>
                  <a:cubicBezTo>
                    <a:pt x="1381" y="112"/>
                    <a:pt x="1379" y="110"/>
                    <a:pt x="1377" y="108"/>
                  </a:cubicBezTo>
                  <a:cubicBezTo>
                    <a:pt x="1375" y="105"/>
                    <a:pt x="1374" y="102"/>
                    <a:pt x="1373" y="99"/>
                  </a:cubicBezTo>
                  <a:cubicBezTo>
                    <a:pt x="1372" y="95"/>
                    <a:pt x="1371" y="92"/>
                    <a:pt x="1371" y="87"/>
                  </a:cubicBezTo>
                  <a:lnTo>
                    <a:pt x="1371" y="50"/>
                  </a:lnTo>
                  <a:lnTo>
                    <a:pt x="1345" y="50"/>
                  </a:lnTo>
                  <a:lnTo>
                    <a:pt x="1345" y="114"/>
                  </a:lnTo>
                  <a:lnTo>
                    <a:pt x="1327" y="114"/>
                  </a:lnTo>
                  <a:lnTo>
                    <a:pt x="1327" y="50"/>
                  </a:lnTo>
                  <a:lnTo>
                    <a:pt x="1317" y="50"/>
                  </a:lnTo>
                  <a:lnTo>
                    <a:pt x="1317" y="37"/>
                  </a:lnTo>
                  <a:lnTo>
                    <a:pt x="1327" y="36"/>
                  </a:lnTo>
                  <a:lnTo>
                    <a:pt x="1327" y="28"/>
                  </a:lnTo>
                  <a:cubicBezTo>
                    <a:pt x="1327" y="24"/>
                    <a:pt x="1328" y="20"/>
                    <a:pt x="1329" y="17"/>
                  </a:cubicBezTo>
                  <a:cubicBezTo>
                    <a:pt x="1330" y="13"/>
                    <a:pt x="1331" y="10"/>
                    <a:pt x="1333" y="8"/>
                  </a:cubicBezTo>
                  <a:cubicBezTo>
                    <a:pt x="1335" y="5"/>
                    <a:pt x="1338" y="3"/>
                    <a:pt x="1341" y="2"/>
                  </a:cubicBezTo>
                  <a:cubicBezTo>
                    <a:pt x="1345" y="1"/>
                    <a:pt x="1348" y="0"/>
                    <a:pt x="1353" y="0"/>
                  </a:cubicBezTo>
                  <a:cubicBezTo>
                    <a:pt x="1356" y="0"/>
                    <a:pt x="1358" y="0"/>
                    <a:pt x="1361" y="1"/>
                  </a:cubicBezTo>
                  <a:cubicBezTo>
                    <a:pt x="1363" y="1"/>
                    <a:pt x="1366" y="2"/>
                    <a:pt x="1367" y="3"/>
                  </a:cubicBezTo>
                  <a:lnTo>
                    <a:pt x="1364" y="16"/>
                  </a:lnTo>
                  <a:cubicBezTo>
                    <a:pt x="1361" y="15"/>
                    <a:pt x="1358" y="14"/>
                    <a:pt x="1355" y="14"/>
                  </a:cubicBezTo>
                  <a:cubicBezTo>
                    <a:pt x="1349" y="14"/>
                    <a:pt x="1345" y="19"/>
                    <a:pt x="1345" y="28"/>
                  </a:cubicBezTo>
                  <a:lnTo>
                    <a:pt x="1345" y="36"/>
                  </a:lnTo>
                  <a:lnTo>
                    <a:pt x="1372" y="36"/>
                  </a:lnTo>
                  <a:lnTo>
                    <a:pt x="1374" y="15"/>
                  </a:lnTo>
                  <a:lnTo>
                    <a:pt x="1389" y="15"/>
                  </a:lnTo>
                  <a:lnTo>
                    <a:pt x="1389" y="36"/>
                  </a:lnTo>
                  <a:lnTo>
                    <a:pt x="1409" y="36"/>
                  </a:lnTo>
                  <a:lnTo>
                    <a:pt x="1409" y="50"/>
                  </a:lnTo>
                  <a:lnTo>
                    <a:pt x="1389" y="50"/>
                  </a:lnTo>
                  <a:lnTo>
                    <a:pt x="1389" y="87"/>
                  </a:lnTo>
                  <a:cubicBezTo>
                    <a:pt x="1389" y="96"/>
                    <a:pt x="1393" y="101"/>
                    <a:pt x="1401" y="101"/>
                  </a:cubicBezTo>
                  <a:cubicBezTo>
                    <a:pt x="1402" y="101"/>
                    <a:pt x="1403" y="101"/>
                    <a:pt x="1405" y="101"/>
                  </a:cubicBezTo>
                  <a:cubicBezTo>
                    <a:pt x="1406" y="100"/>
                    <a:pt x="1407" y="100"/>
                    <a:pt x="1409" y="99"/>
                  </a:cubicBezTo>
                  <a:lnTo>
                    <a:pt x="1412" y="113"/>
                  </a:lnTo>
                  <a:close/>
                  <a:moveTo>
                    <a:pt x="1256" y="91"/>
                  </a:moveTo>
                  <a:cubicBezTo>
                    <a:pt x="1256" y="95"/>
                    <a:pt x="1257" y="97"/>
                    <a:pt x="1259" y="99"/>
                  </a:cubicBezTo>
                  <a:cubicBezTo>
                    <a:pt x="1261" y="101"/>
                    <a:pt x="1264" y="101"/>
                    <a:pt x="1267" y="101"/>
                  </a:cubicBezTo>
                  <a:cubicBezTo>
                    <a:pt x="1270" y="101"/>
                    <a:pt x="1273" y="101"/>
                    <a:pt x="1276" y="99"/>
                  </a:cubicBezTo>
                  <a:cubicBezTo>
                    <a:pt x="1278" y="98"/>
                    <a:pt x="1281" y="96"/>
                    <a:pt x="1284" y="93"/>
                  </a:cubicBezTo>
                  <a:lnTo>
                    <a:pt x="1284" y="75"/>
                  </a:lnTo>
                  <a:cubicBezTo>
                    <a:pt x="1278" y="76"/>
                    <a:pt x="1274" y="77"/>
                    <a:pt x="1270" y="78"/>
                  </a:cubicBezTo>
                  <a:cubicBezTo>
                    <a:pt x="1267" y="79"/>
                    <a:pt x="1264" y="80"/>
                    <a:pt x="1262" y="81"/>
                  </a:cubicBezTo>
                  <a:cubicBezTo>
                    <a:pt x="1260" y="83"/>
                    <a:pt x="1258" y="84"/>
                    <a:pt x="1257" y="86"/>
                  </a:cubicBezTo>
                  <a:cubicBezTo>
                    <a:pt x="1256" y="88"/>
                    <a:pt x="1256" y="89"/>
                    <a:pt x="1256" y="91"/>
                  </a:cubicBezTo>
                  <a:close/>
                  <a:moveTo>
                    <a:pt x="1238" y="93"/>
                  </a:moveTo>
                  <a:cubicBezTo>
                    <a:pt x="1238" y="84"/>
                    <a:pt x="1242" y="78"/>
                    <a:pt x="1249" y="73"/>
                  </a:cubicBezTo>
                  <a:cubicBezTo>
                    <a:pt x="1256" y="69"/>
                    <a:pt x="1268" y="66"/>
                    <a:pt x="1284" y="64"/>
                  </a:cubicBezTo>
                  <a:cubicBezTo>
                    <a:pt x="1284" y="62"/>
                    <a:pt x="1283" y="60"/>
                    <a:pt x="1283" y="58"/>
                  </a:cubicBezTo>
                  <a:cubicBezTo>
                    <a:pt x="1282" y="56"/>
                    <a:pt x="1282" y="55"/>
                    <a:pt x="1281" y="53"/>
                  </a:cubicBezTo>
                  <a:cubicBezTo>
                    <a:pt x="1279" y="52"/>
                    <a:pt x="1278" y="51"/>
                    <a:pt x="1276" y="50"/>
                  </a:cubicBezTo>
                  <a:cubicBezTo>
                    <a:pt x="1274" y="49"/>
                    <a:pt x="1272" y="49"/>
                    <a:pt x="1270" y="49"/>
                  </a:cubicBezTo>
                  <a:cubicBezTo>
                    <a:pt x="1266" y="49"/>
                    <a:pt x="1262" y="50"/>
                    <a:pt x="1258" y="51"/>
                  </a:cubicBezTo>
                  <a:cubicBezTo>
                    <a:pt x="1255" y="52"/>
                    <a:pt x="1251" y="54"/>
                    <a:pt x="1248" y="56"/>
                  </a:cubicBezTo>
                  <a:lnTo>
                    <a:pt x="1241" y="44"/>
                  </a:lnTo>
                  <a:cubicBezTo>
                    <a:pt x="1245" y="41"/>
                    <a:pt x="1250" y="39"/>
                    <a:pt x="1256" y="37"/>
                  </a:cubicBezTo>
                  <a:cubicBezTo>
                    <a:pt x="1261" y="35"/>
                    <a:pt x="1267" y="34"/>
                    <a:pt x="1273" y="34"/>
                  </a:cubicBezTo>
                  <a:cubicBezTo>
                    <a:pt x="1283" y="34"/>
                    <a:pt x="1290" y="37"/>
                    <a:pt x="1295" y="43"/>
                  </a:cubicBezTo>
                  <a:cubicBezTo>
                    <a:pt x="1300" y="48"/>
                    <a:pt x="1302" y="57"/>
                    <a:pt x="1302" y="68"/>
                  </a:cubicBezTo>
                  <a:lnTo>
                    <a:pt x="1302" y="114"/>
                  </a:lnTo>
                  <a:lnTo>
                    <a:pt x="1287" y="114"/>
                  </a:lnTo>
                  <a:lnTo>
                    <a:pt x="1286" y="105"/>
                  </a:lnTo>
                  <a:lnTo>
                    <a:pt x="1285" y="105"/>
                  </a:lnTo>
                  <a:cubicBezTo>
                    <a:pt x="1282" y="108"/>
                    <a:pt x="1278" y="111"/>
                    <a:pt x="1274" y="113"/>
                  </a:cubicBezTo>
                  <a:cubicBezTo>
                    <a:pt x="1270" y="115"/>
                    <a:pt x="1266" y="116"/>
                    <a:pt x="1261" y="116"/>
                  </a:cubicBezTo>
                  <a:cubicBezTo>
                    <a:pt x="1254" y="116"/>
                    <a:pt x="1249" y="114"/>
                    <a:pt x="1244" y="109"/>
                  </a:cubicBezTo>
                  <a:cubicBezTo>
                    <a:pt x="1240" y="105"/>
                    <a:pt x="1238" y="100"/>
                    <a:pt x="1238" y="93"/>
                  </a:cubicBezTo>
                  <a:close/>
                  <a:moveTo>
                    <a:pt x="1153" y="2"/>
                  </a:moveTo>
                  <a:lnTo>
                    <a:pt x="1171" y="2"/>
                  </a:lnTo>
                  <a:lnTo>
                    <a:pt x="1171" y="31"/>
                  </a:lnTo>
                  <a:lnTo>
                    <a:pt x="1171" y="46"/>
                  </a:lnTo>
                  <a:cubicBezTo>
                    <a:pt x="1174" y="43"/>
                    <a:pt x="1177" y="40"/>
                    <a:pt x="1181" y="38"/>
                  </a:cubicBezTo>
                  <a:cubicBezTo>
                    <a:pt x="1185" y="35"/>
                    <a:pt x="1190" y="34"/>
                    <a:pt x="1195" y="34"/>
                  </a:cubicBezTo>
                  <a:cubicBezTo>
                    <a:pt x="1204" y="34"/>
                    <a:pt x="1210" y="37"/>
                    <a:pt x="1214" y="42"/>
                  </a:cubicBezTo>
                  <a:cubicBezTo>
                    <a:pt x="1217" y="47"/>
                    <a:pt x="1219" y="55"/>
                    <a:pt x="1219" y="65"/>
                  </a:cubicBezTo>
                  <a:lnTo>
                    <a:pt x="1219" y="114"/>
                  </a:lnTo>
                  <a:lnTo>
                    <a:pt x="1201" y="114"/>
                  </a:lnTo>
                  <a:lnTo>
                    <a:pt x="1201" y="67"/>
                  </a:lnTo>
                  <a:cubicBezTo>
                    <a:pt x="1201" y="61"/>
                    <a:pt x="1200" y="56"/>
                    <a:pt x="1198" y="54"/>
                  </a:cubicBezTo>
                  <a:cubicBezTo>
                    <a:pt x="1196" y="51"/>
                    <a:pt x="1193" y="50"/>
                    <a:pt x="1189" y="50"/>
                  </a:cubicBezTo>
                  <a:cubicBezTo>
                    <a:pt x="1186" y="50"/>
                    <a:pt x="1183" y="51"/>
                    <a:pt x="1180" y="52"/>
                  </a:cubicBezTo>
                  <a:cubicBezTo>
                    <a:pt x="1177" y="54"/>
                    <a:pt x="1174" y="56"/>
                    <a:pt x="1171" y="59"/>
                  </a:cubicBezTo>
                  <a:lnTo>
                    <a:pt x="1171" y="114"/>
                  </a:lnTo>
                  <a:lnTo>
                    <a:pt x="1153" y="114"/>
                  </a:lnTo>
                  <a:lnTo>
                    <a:pt x="1153" y="2"/>
                  </a:lnTo>
                  <a:close/>
                  <a:moveTo>
                    <a:pt x="1075" y="75"/>
                  </a:moveTo>
                  <a:cubicBezTo>
                    <a:pt x="1075" y="68"/>
                    <a:pt x="1076" y="63"/>
                    <a:pt x="1078" y="58"/>
                  </a:cubicBezTo>
                  <a:cubicBezTo>
                    <a:pt x="1080" y="53"/>
                    <a:pt x="1083" y="48"/>
                    <a:pt x="1086" y="45"/>
                  </a:cubicBezTo>
                  <a:cubicBezTo>
                    <a:pt x="1090" y="41"/>
                    <a:pt x="1094" y="39"/>
                    <a:pt x="1099" y="37"/>
                  </a:cubicBezTo>
                  <a:cubicBezTo>
                    <a:pt x="1104" y="35"/>
                    <a:pt x="1109" y="34"/>
                    <a:pt x="1114" y="34"/>
                  </a:cubicBezTo>
                  <a:cubicBezTo>
                    <a:pt x="1119" y="34"/>
                    <a:pt x="1123" y="35"/>
                    <a:pt x="1127" y="37"/>
                  </a:cubicBezTo>
                  <a:cubicBezTo>
                    <a:pt x="1131" y="38"/>
                    <a:pt x="1134" y="41"/>
                    <a:pt x="1136" y="43"/>
                  </a:cubicBezTo>
                  <a:lnTo>
                    <a:pt x="1128" y="55"/>
                  </a:lnTo>
                  <a:cubicBezTo>
                    <a:pt x="1126" y="53"/>
                    <a:pt x="1124" y="51"/>
                    <a:pt x="1121" y="50"/>
                  </a:cubicBezTo>
                  <a:cubicBezTo>
                    <a:pt x="1119" y="49"/>
                    <a:pt x="1117" y="49"/>
                    <a:pt x="1115" y="49"/>
                  </a:cubicBezTo>
                  <a:cubicBezTo>
                    <a:pt x="1108" y="49"/>
                    <a:pt x="1103" y="51"/>
                    <a:pt x="1099" y="56"/>
                  </a:cubicBezTo>
                  <a:cubicBezTo>
                    <a:pt x="1095" y="61"/>
                    <a:pt x="1093" y="67"/>
                    <a:pt x="1093" y="75"/>
                  </a:cubicBezTo>
                  <a:cubicBezTo>
                    <a:pt x="1093" y="83"/>
                    <a:pt x="1095" y="89"/>
                    <a:pt x="1099" y="94"/>
                  </a:cubicBezTo>
                  <a:cubicBezTo>
                    <a:pt x="1103" y="98"/>
                    <a:pt x="1108" y="101"/>
                    <a:pt x="1114" y="101"/>
                  </a:cubicBezTo>
                  <a:cubicBezTo>
                    <a:pt x="1117" y="101"/>
                    <a:pt x="1120" y="100"/>
                    <a:pt x="1123" y="99"/>
                  </a:cubicBezTo>
                  <a:cubicBezTo>
                    <a:pt x="1126" y="97"/>
                    <a:pt x="1128" y="96"/>
                    <a:pt x="1130" y="94"/>
                  </a:cubicBezTo>
                  <a:lnTo>
                    <a:pt x="1138" y="106"/>
                  </a:lnTo>
                  <a:cubicBezTo>
                    <a:pt x="1134" y="109"/>
                    <a:pt x="1130" y="111"/>
                    <a:pt x="1126" y="113"/>
                  </a:cubicBezTo>
                  <a:cubicBezTo>
                    <a:pt x="1121" y="115"/>
                    <a:pt x="1117" y="116"/>
                    <a:pt x="1112" y="116"/>
                  </a:cubicBezTo>
                  <a:cubicBezTo>
                    <a:pt x="1107" y="116"/>
                    <a:pt x="1102" y="115"/>
                    <a:pt x="1097" y="113"/>
                  </a:cubicBezTo>
                  <a:cubicBezTo>
                    <a:pt x="1093" y="111"/>
                    <a:pt x="1089" y="108"/>
                    <a:pt x="1086" y="105"/>
                  </a:cubicBezTo>
                  <a:cubicBezTo>
                    <a:pt x="1082" y="101"/>
                    <a:pt x="1079" y="97"/>
                    <a:pt x="1078" y="92"/>
                  </a:cubicBezTo>
                  <a:cubicBezTo>
                    <a:pt x="1076" y="87"/>
                    <a:pt x="1075" y="81"/>
                    <a:pt x="1075" y="75"/>
                  </a:cubicBezTo>
                  <a:close/>
                  <a:moveTo>
                    <a:pt x="1012" y="93"/>
                  </a:moveTo>
                  <a:cubicBezTo>
                    <a:pt x="1016" y="96"/>
                    <a:pt x="1019" y="98"/>
                    <a:pt x="1023" y="100"/>
                  </a:cubicBezTo>
                  <a:cubicBezTo>
                    <a:pt x="1026" y="101"/>
                    <a:pt x="1030" y="102"/>
                    <a:pt x="1034" y="102"/>
                  </a:cubicBezTo>
                  <a:cubicBezTo>
                    <a:pt x="1038" y="102"/>
                    <a:pt x="1041" y="101"/>
                    <a:pt x="1043" y="99"/>
                  </a:cubicBezTo>
                  <a:cubicBezTo>
                    <a:pt x="1045" y="97"/>
                    <a:pt x="1046" y="95"/>
                    <a:pt x="1046" y="92"/>
                  </a:cubicBezTo>
                  <a:cubicBezTo>
                    <a:pt x="1046" y="91"/>
                    <a:pt x="1046" y="89"/>
                    <a:pt x="1045" y="88"/>
                  </a:cubicBezTo>
                  <a:cubicBezTo>
                    <a:pt x="1044" y="87"/>
                    <a:pt x="1043" y="86"/>
                    <a:pt x="1041" y="85"/>
                  </a:cubicBezTo>
                  <a:cubicBezTo>
                    <a:pt x="1039" y="84"/>
                    <a:pt x="1038" y="83"/>
                    <a:pt x="1036" y="82"/>
                  </a:cubicBezTo>
                  <a:cubicBezTo>
                    <a:pt x="1034" y="82"/>
                    <a:pt x="1032" y="81"/>
                    <a:pt x="1030" y="80"/>
                  </a:cubicBezTo>
                  <a:cubicBezTo>
                    <a:pt x="1027" y="79"/>
                    <a:pt x="1024" y="78"/>
                    <a:pt x="1022" y="77"/>
                  </a:cubicBezTo>
                  <a:cubicBezTo>
                    <a:pt x="1019" y="75"/>
                    <a:pt x="1017" y="74"/>
                    <a:pt x="1015" y="72"/>
                  </a:cubicBezTo>
                  <a:cubicBezTo>
                    <a:pt x="1013" y="70"/>
                    <a:pt x="1011" y="68"/>
                    <a:pt x="1010" y="66"/>
                  </a:cubicBezTo>
                  <a:cubicBezTo>
                    <a:pt x="1008" y="63"/>
                    <a:pt x="1008" y="61"/>
                    <a:pt x="1008" y="57"/>
                  </a:cubicBezTo>
                  <a:cubicBezTo>
                    <a:pt x="1008" y="50"/>
                    <a:pt x="1010" y="45"/>
                    <a:pt x="1015" y="41"/>
                  </a:cubicBezTo>
                  <a:cubicBezTo>
                    <a:pt x="1020" y="36"/>
                    <a:pt x="1027" y="34"/>
                    <a:pt x="1036" y="34"/>
                  </a:cubicBezTo>
                  <a:cubicBezTo>
                    <a:pt x="1041" y="34"/>
                    <a:pt x="1046" y="35"/>
                    <a:pt x="1051" y="37"/>
                  </a:cubicBezTo>
                  <a:cubicBezTo>
                    <a:pt x="1055" y="39"/>
                    <a:pt x="1059" y="41"/>
                    <a:pt x="1062" y="43"/>
                  </a:cubicBezTo>
                  <a:lnTo>
                    <a:pt x="1054" y="54"/>
                  </a:lnTo>
                  <a:cubicBezTo>
                    <a:pt x="1051" y="52"/>
                    <a:pt x="1048" y="51"/>
                    <a:pt x="1045" y="50"/>
                  </a:cubicBezTo>
                  <a:cubicBezTo>
                    <a:pt x="1042" y="48"/>
                    <a:pt x="1039" y="48"/>
                    <a:pt x="1036" y="48"/>
                  </a:cubicBezTo>
                  <a:cubicBezTo>
                    <a:pt x="1033" y="48"/>
                    <a:pt x="1030" y="49"/>
                    <a:pt x="1028" y="50"/>
                  </a:cubicBezTo>
                  <a:cubicBezTo>
                    <a:pt x="1026" y="52"/>
                    <a:pt x="1025" y="54"/>
                    <a:pt x="1025" y="56"/>
                  </a:cubicBezTo>
                  <a:cubicBezTo>
                    <a:pt x="1025" y="58"/>
                    <a:pt x="1025" y="59"/>
                    <a:pt x="1026" y="60"/>
                  </a:cubicBezTo>
                  <a:cubicBezTo>
                    <a:pt x="1027" y="62"/>
                    <a:pt x="1028" y="63"/>
                    <a:pt x="1030" y="63"/>
                  </a:cubicBezTo>
                  <a:cubicBezTo>
                    <a:pt x="1031" y="64"/>
                    <a:pt x="1033" y="65"/>
                    <a:pt x="1035" y="66"/>
                  </a:cubicBezTo>
                  <a:cubicBezTo>
                    <a:pt x="1037" y="66"/>
                    <a:pt x="1039" y="67"/>
                    <a:pt x="1041" y="68"/>
                  </a:cubicBezTo>
                  <a:cubicBezTo>
                    <a:pt x="1044" y="69"/>
                    <a:pt x="1046" y="70"/>
                    <a:pt x="1049" y="71"/>
                  </a:cubicBezTo>
                  <a:cubicBezTo>
                    <a:pt x="1052" y="72"/>
                    <a:pt x="1054" y="74"/>
                    <a:pt x="1056" y="76"/>
                  </a:cubicBezTo>
                  <a:cubicBezTo>
                    <a:pt x="1058" y="77"/>
                    <a:pt x="1060" y="80"/>
                    <a:pt x="1062" y="82"/>
                  </a:cubicBezTo>
                  <a:cubicBezTo>
                    <a:pt x="1063" y="85"/>
                    <a:pt x="1063" y="88"/>
                    <a:pt x="1063" y="92"/>
                  </a:cubicBezTo>
                  <a:cubicBezTo>
                    <a:pt x="1063" y="95"/>
                    <a:pt x="1063" y="98"/>
                    <a:pt x="1062" y="101"/>
                  </a:cubicBezTo>
                  <a:cubicBezTo>
                    <a:pt x="1060" y="104"/>
                    <a:pt x="1058" y="106"/>
                    <a:pt x="1056" y="109"/>
                  </a:cubicBezTo>
                  <a:cubicBezTo>
                    <a:pt x="1053" y="111"/>
                    <a:pt x="1050" y="112"/>
                    <a:pt x="1046" y="114"/>
                  </a:cubicBezTo>
                  <a:cubicBezTo>
                    <a:pt x="1042" y="115"/>
                    <a:pt x="1038" y="116"/>
                    <a:pt x="1033" y="116"/>
                  </a:cubicBezTo>
                  <a:cubicBezTo>
                    <a:pt x="1028" y="116"/>
                    <a:pt x="1023" y="115"/>
                    <a:pt x="1017" y="113"/>
                  </a:cubicBezTo>
                  <a:cubicBezTo>
                    <a:pt x="1012" y="110"/>
                    <a:pt x="1008" y="108"/>
                    <a:pt x="1004" y="105"/>
                  </a:cubicBezTo>
                  <a:lnTo>
                    <a:pt x="1012" y="93"/>
                  </a:lnTo>
                  <a:close/>
                  <a:moveTo>
                    <a:pt x="957" y="50"/>
                  </a:moveTo>
                  <a:lnTo>
                    <a:pt x="946" y="50"/>
                  </a:lnTo>
                  <a:lnTo>
                    <a:pt x="946" y="37"/>
                  </a:lnTo>
                  <a:lnTo>
                    <a:pt x="958" y="36"/>
                  </a:lnTo>
                  <a:lnTo>
                    <a:pt x="960" y="15"/>
                  </a:lnTo>
                  <a:lnTo>
                    <a:pt x="975" y="15"/>
                  </a:lnTo>
                  <a:lnTo>
                    <a:pt x="975" y="36"/>
                  </a:lnTo>
                  <a:lnTo>
                    <a:pt x="995" y="36"/>
                  </a:lnTo>
                  <a:lnTo>
                    <a:pt x="995" y="50"/>
                  </a:lnTo>
                  <a:lnTo>
                    <a:pt x="975" y="50"/>
                  </a:lnTo>
                  <a:lnTo>
                    <a:pt x="975" y="87"/>
                  </a:lnTo>
                  <a:cubicBezTo>
                    <a:pt x="975" y="96"/>
                    <a:pt x="979" y="101"/>
                    <a:pt x="986" y="101"/>
                  </a:cubicBezTo>
                  <a:cubicBezTo>
                    <a:pt x="988" y="101"/>
                    <a:pt x="989" y="101"/>
                    <a:pt x="991" y="101"/>
                  </a:cubicBezTo>
                  <a:cubicBezTo>
                    <a:pt x="992" y="100"/>
                    <a:pt x="993" y="100"/>
                    <a:pt x="994" y="99"/>
                  </a:cubicBezTo>
                  <a:lnTo>
                    <a:pt x="998" y="113"/>
                  </a:lnTo>
                  <a:cubicBezTo>
                    <a:pt x="996" y="113"/>
                    <a:pt x="993" y="114"/>
                    <a:pt x="990" y="115"/>
                  </a:cubicBezTo>
                  <a:cubicBezTo>
                    <a:pt x="988" y="115"/>
                    <a:pt x="985" y="116"/>
                    <a:pt x="982" y="116"/>
                  </a:cubicBezTo>
                  <a:cubicBezTo>
                    <a:pt x="977" y="116"/>
                    <a:pt x="973" y="115"/>
                    <a:pt x="970" y="114"/>
                  </a:cubicBezTo>
                  <a:cubicBezTo>
                    <a:pt x="967" y="112"/>
                    <a:pt x="965" y="110"/>
                    <a:pt x="963" y="108"/>
                  </a:cubicBezTo>
                  <a:cubicBezTo>
                    <a:pt x="961" y="105"/>
                    <a:pt x="959" y="102"/>
                    <a:pt x="958" y="99"/>
                  </a:cubicBezTo>
                  <a:cubicBezTo>
                    <a:pt x="958" y="95"/>
                    <a:pt x="957" y="92"/>
                    <a:pt x="957" y="87"/>
                  </a:cubicBezTo>
                  <a:lnTo>
                    <a:pt x="957" y="50"/>
                  </a:lnTo>
                  <a:close/>
                  <a:moveTo>
                    <a:pt x="895" y="36"/>
                  </a:moveTo>
                  <a:lnTo>
                    <a:pt x="910" y="36"/>
                  </a:lnTo>
                  <a:lnTo>
                    <a:pt x="912" y="50"/>
                  </a:lnTo>
                  <a:lnTo>
                    <a:pt x="912" y="50"/>
                  </a:lnTo>
                  <a:cubicBezTo>
                    <a:pt x="915" y="45"/>
                    <a:pt x="918" y="41"/>
                    <a:pt x="922" y="38"/>
                  </a:cubicBezTo>
                  <a:cubicBezTo>
                    <a:pt x="926" y="35"/>
                    <a:pt x="930" y="34"/>
                    <a:pt x="934" y="34"/>
                  </a:cubicBezTo>
                  <a:cubicBezTo>
                    <a:pt x="938" y="34"/>
                    <a:pt x="941" y="35"/>
                    <a:pt x="943" y="36"/>
                  </a:cubicBezTo>
                  <a:lnTo>
                    <a:pt x="940" y="51"/>
                  </a:lnTo>
                  <a:cubicBezTo>
                    <a:pt x="939" y="51"/>
                    <a:pt x="937" y="51"/>
                    <a:pt x="936" y="51"/>
                  </a:cubicBezTo>
                  <a:cubicBezTo>
                    <a:pt x="935" y="50"/>
                    <a:pt x="934" y="50"/>
                    <a:pt x="932" y="50"/>
                  </a:cubicBezTo>
                  <a:cubicBezTo>
                    <a:pt x="929" y="50"/>
                    <a:pt x="926" y="51"/>
                    <a:pt x="922" y="54"/>
                  </a:cubicBezTo>
                  <a:cubicBezTo>
                    <a:pt x="919" y="56"/>
                    <a:pt x="916" y="60"/>
                    <a:pt x="914" y="66"/>
                  </a:cubicBezTo>
                  <a:lnTo>
                    <a:pt x="914" y="114"/>
                  </a:lnTo>
                  <a:lnTo>
                    <a:pt x="895" y="114"/>
                  </a:lnTo>
                  <a:lnTo>
                    <a:pt x="895" y="36"/>
                  </a:lnTo>
                  <a:close/>
                  <a:moveTo>
                    <a:pt x="854" y="36"/>
                  </a:moveTo>
                  <a:lnTo>
                    <a:pt x="872" y="36"/>
                  </a:lnTo>
                  <a:lnTo>
                    <a:pt x="872" y="114"/>
                  </a:lnTo>
                  <a:lnTo>
                    <a:pt x="854" y="114"/>
                  </a:lnTo>
                  <a:lnTo>
                    <a:pt x="854" y="36"/>
                  </a:lnTo>
                  <a:close/>
                  <a:moveTo>
                    <a:pt x="863" y="22"/>
                  </a:moveTo>
                  <a:cubicBezTo>
                    <a:pt x="860" y="22"/>
                    <a:pt x="857" y="21"/>
                    <a:pt x="855" y="19"/>
                  </a:cubicBezTo>
                  <a:cubicBezTo>
                    <a:pt x="853" y="18"/>
                    <a:pt x="852" y="15"/>
                    <a:pt x="852" y="12"/>
                  </a:cubicBezTo>
                  <a:cubicBezTo>
                    <a:pt x="852" y="9"/>
                    <a:pt x="853" y="6"/>
                    <a:pt x="855" y="5"/>
                  </a:cubicBezTo>
                  <a:cubicBezTo>
                    <a:pt x="857" y="3"/>
                    <a:pt x="860" y="2"/>
                    <a:pt x="863" y="2"/>
                  </a:cubicBezTo>
                  <a:cubicBezTo>
                    <a:pt x="866" y="2"/>
                    <a:pt x="869" y="3"/>
                    <a:pt x="871" y="5"/>
                  </a:cubicBezTo>
                  <a:cubicBezTo>
                    <a:pt x="873" y="6"/>
                    <a:pt x="874" y="9"/>
                    <a:pt x="874" y="12"/>
                  </a:cubicBezTo>
                  <a:cubicBezTo>
                    <a:pt x="874" y="15"/>
                    <a:pt x="873" y="18"/>
                    <a:pt x="871" y="19"/>
                  </a:cubicBezTo>
                  <a:cubicBezTo>
                    <a:pt x="869" y="21"/>
                    <a:pt x="866" y="22"/>
                    <a:pt x="863" y="22"/>
                  </a:cubicBezTo>
                  <a:close/>
                  <a:moveTo>
                    <a:pt x="728" y="36"/>
                  </a:moveTo>
                  <a:lnTo>
                    <a:pt x="746" y="36"/>
                  </a:lnTo>
                  <a:lnTo>
                    <a:pt x="755" y="76"/>
                  </a:lnTo>
                  <a:cubicBezTo>
                    <a:pt x="756" y="80"/>
                    <a:pt x="757" y="84"/>
                    <a:pt x="758" y="87"/>
                  </a:cubicBezTo>
                  <a:cubicBezTo>
                    <a:pt x="758" y="91"/>
                    <a:pt x="759" y="95"/>
                    <a:pt x="760" y="99"/>
                  </a:cubicBezTo>
                  <a:lnTo>
                    <a:pt x="760" y="99"/>
                  </a:lnTo>
                  <a:cubicBezTo>
                    <a:pt x="761" y="95"/>
                    <a:pt x="762" y="91"/>
                    <a:pt x="762" y="87"/>
                  </a:cubicBezTo>
                  <a:cubicBezTo>
                    <a:pt x="763" y="84"/>
                    <a:pt x="764" y="80"/>
                    <a:pt x="765" y="76"/>
                  </a:cubicBezTo>
                  <a:lnTo>
                    <a:pt x="775" y="36"/>
                  </a:lnTo>
                  <a:lnTo>
                    <a:pt x="792" y="36"/>
                  </a:lnTo>
                  <a:lnTo>
                    <a:pt x="802" y="76"/>
                  </a:lnTo>
                  <a:cubicBezTo>
                    <a:pt x="803" y="80"/>
                    <a:pt x="804" y="84"/>
                    <a:pt x="805" y="87"/>
                  </a:cubicBezTo>
                  <a:cubicBezTo>
                    <a:pt x="806" y="91"/>
                    <a:pt x="806" y="95"/>
                    <a:pt x="807" y="99"/>
                  </a:cubicBezTo>
                  <a:lnTo>
                    <a:pt x="808" y="99"/>
                  </a:lnTo>
                  <a:cubicBezTo>
                    <a:pt x="809" y="95"/>
                    <a:pt x="809" y="91"/>
                    <a:pt x="810" y="87"/>
                  </a:cubicBezTo>
                  <a:cubicBezTo>
                    <a:pt x="811" y="84"/>
                    <a:pt x="811" y="80"/>
                    <a:pt x="812" y="76"/>
                  </a:cubicBezTo>
                  <a:lnTo>
                    <a:pt x="821" y="36"/>
                  </a:lnTo>
                  <a:lnTo>
                    <a:pt x="839" y="36"/>
                  </a:lnTo>
                  <a:lnTo>
                    <a:pt x="819" y="114"/>
                  </a:lnTo>
                  <a:lnTo>
                    <a:pt x="797" y="114"/>
                  </a:lnTo>
                  <a:lnTo>
                    <a:pt x="788" y="77"/>
                  </a:lnTo>
                  <a:cubicBezTo>
                    <a:pt x="787" y="74"/>
                    <a:pt x="786" y="70"/>
                    <a:pt x="786" y="66"/>
                  </a:cubicBezTo>
                  <a:cubicBezTo>
                    <a:pt x="785" y="63"/>
                    <a:pt x="784" y="59"/>
                    <a:pt x="783" y="55"/>
                  </a:cubicBezTo>
                  <a:lnTo>
                    <a:pt x="783" y="55"/>
                  </a:lnTo>
                  <a:cubicBezTo>
                    <a:pt x="782" y="59"/>
                    <a:pt x="781" y="63"/>
                    <a:pt x="780" y="67"/>
                  </a:cubicBezTo>
                  <a:cubicBezTo>
                    <a:pt x="780" y="70"/>
                    <a:pt x="779" y="74"/>
                    <a:pt x="778" y="78"/>
                  </a:cubicBezTo>
                  <a:lnTo>
                    <a:pt x="769" y="114"/>
                  </a:lnTo>
                  <a:lnTo>
                    <a:pt x="748" y="114"/>
                  </a:lnTo>
                  <a:lnTo>
                    <a:pt x="728" y="36"/>
                  </a:lnTo>
                  <a:close/>
                  <a:moveTo>
                    <a:pt x="675" y="36"/>
                  </a:moveTo>
                  <a:lnTo>
                    <a:pt x="690" y="36"/>
                  </a:lnTo>
                  <a:lnTo>
                    <a:pt x="691" y="50"/>
                  </a:lnTo>
                  <a:lnTo>
                    <a:pt x="692" y="50"/>
                  </a:lnTo>
                  <a:cubicBezTo>
                    <a:pt x="695" y="45"/>
                    <a:pt x="698" y="41"/>
                    <a:pt x="702" y="38"/>
                  </a:cubicBezTo>
                  <a:cubicBezTo>
                    <a:pt x="706" y="35"/>
                    <a:pt x="710" y="34"/>
                    <a:pt x="714" y="34"/>
                  </a:cubicBezTo>
                  <a:cubicBezTo>
                    <a:pt x="718" y="34"/>
                    <a:pt x="721" y="35"/>
                    <a:pt x="723" y="36"/>
                  </a:cubicBezTo>
                  <a:lnTo>
                    <a:pt x="720" y="51"/>
                  </a:lnTo>
                  <a:cubicBezTo>
                    <a:pt x="718" y="51"/>
                    <a:pt x="717" y="51"/>
                    <a:pt x="716" y="51"/>
                  </a:cubicBezTo>
                  <a:cubicBezTo>
                    <a:pt x="715" y="50"/>
                    <a:pt x="713" y="50"/>
                    <a:pt x="712" y="50"/>
                  </a:cubicBezTo>
                  <a:cubicBezTo>
                    <a:pt x="709" y="50"/>
                    <a:pt x="705" y="51"/>
                    <a:pt x="702" y="54"/>
                  </a:cubicBezTo>
                  <a:cubicBezTo>
                    <a:pt x="699" y="56"/>
                    <a:pt x="696" y="60"/>
                    <a:pt x="693" y="66"/>
                  </a:cubicBezTo>
                  <a:lnTo>
                    <a:pt x="693" y="114"/>
                  </a:lnTo>
                  <a:lnTo>
                    <a:pt x="675" y="114"/>
                  </a:lnTo>
                  <a:lnTo>
                    <a:pt x="675" y="36"/>
                  </a:lnTo>
                  <a:close/>
                  <a:moveTo>
                    <a:pt x="642" y="68"/>
                  </a:moveTo>
                  <a:cubicBezTo>
                    <a:pt x="642" y="62"/>
                    <a:pt x="641" y="57"/>
                    <a:pt x="638" y="53"/>
                  </a:cubicBezTo>
                  <a:cubicBezTo>
                    <a:pt x="635" y="50"/>
                    <a:pt x="631" y="48"/>
                    <a:pt x="626" y="48"/>
                  </a:cubicBezTo>
                  <a:cubicBezTo>
                    <a:pt x="621" y="48"/>
                    <a:pt x="617" y="50"/>
                    <a:pt x="614" y="53"/>
                  </a:cubicBezTo>
                  <a:cubicBezTo>
                    <a:pt x="610" y="56"/>
                    <a:pt x="608" y="61"/>
                    <a:pt x="607" y="68"/>
                  </a:cubicBezTo>
                  <a:lnTo>
                    <a:pt x="642" y="68"/>
                  </a:lnTo>
                  <a:close/>
                  <a:moveTo>
                    <a:pt x="590" y="75"/>
                  </a:moveTo>
                  <a:cubicBezTo>
                    <a:pt x="590" y="69"/>
                    <a:pt x="591" y="63"/>
                    <a:pt x="593" y="58"/>
                  </a:cubicBezTo>
                  <a:cubicBezTo>
                    <a:pt x="595" y="53"/>
                    <a:pt x="597" y="48"/>
                    <a:pt x="601" y="45"/>
                  </a:cubicBezTo>
                  <a:cubicBezTo>
                    <a:pt x="604" y="41"/>
                    <a:pt x="608" y="39"/>
                    <a:pt x="612" y="37"/>
                  </a:cubicBezTo>
                  <a:cubicBezTo>
                    <a:pt x="617" y="35"/>
                    <a:pt x="621" y="34"/>
                    <a:pt x="626" y="34"/>
                  </a:cubicBezTo>
                  <a:cubicBezTo>
                    <a:pt x="631" y="34"/>
                    <a:pt x="635" y="35"/>
                    <a:pt x="639" y="37"/>
                  </a:cubicBezTo>
                  <a:cubicBezTo>
                    <a:pt x="644" y="39"/>
                    <a:pt x="647" y="41"/>
                    <a:pt x="650" y="44"/>
                  </a:cubicBezTo>
                  <a:cubicBezTo>
                    <a:pt x="652" y="48"/>
                    <a:pt x="654" y="52"/>
                    <a:pt x="656" y="56"/>
                  </a:cubicBezTo>
                  <a:cubicBezTo>
                    <a:pt x="657" y="61"/>
                    <a:pt x="658" y="66"/>
                    <a:pt x="658" y="71"/>
                  </a:cubicBezTo>
                  <a:cubicBezTo>
                    <a:pt x="658" y="75"/>
                    <a:pt x="657" y="77"/>
                    <a:pt x="657" y="79"/>
                  </a:cubicBezTo>
                  <a:lnTo>
                    <a:pt x="608" y="79"/>
                  </a:lnTo>
                  <a:cubicBezTo>
                    <a:pt x="608" y="87"/>
                    <a:pt x="611" y="92"/>
                    <a:pt x="615" y="96"/>
                  </a:cubicBezTo>
                  <a:cubicBezTo>
                    <a:pt x="619" y="100"/>
                    <a:pt x="624" y="101"/>
                    <a:pt x="630" y="101"/>
                  </a:cubicBezTo>
                  <a:cubicBezTo>
                    <a:pt x="634" y="101"/>
                    <a:pt x="637" y="101"/>
                    <a:pt x="640" y="100"/>
                  </a:cubicBezTo>
                  <a:cubicBezTo>
                    <a:pt x="643" y="99"/>
                    <a:pt x="646" y="98"/>
                    <a:pt x="649" y="96"/>
                  </a:cubicBezTo>
                  <a:lnTo>
                    <a:pt x="655" y="107"/>
                  </a:lnTo>
                  <a:cubicBezTo>
                    <a:pt x="651" y="110"/>
                    <a:pt x="647" y="112"/>
                    <a:pt x="642" y="113"/>
                  </a:cubicBezTo>
                  <a:cubicBezTo>
                    <a:pt x="638" y="115"/>
                    <a:pt x="633" y="116"/>
                    <a:pt x="628" y="116"/>
                  </a:cubicBezTo>
                  <a:cubicBezTo>
                    <a:pt x="623" y="116"/>
                    <a:pt x="618" y="115"/>
                    <a:pt x="613" y="113"/>
                  </a:cubicBezTo>
                  <a:cubicBezTo>
                    <a:pt x="608" y="111"/>
                    <a:pt x="604" y="108"/>
                    <a:pt x="601" y="105"/>
                  </a:cubicBezTo>
                  <a:cubicBezTo>
                    <a:pt x="597" y="101"/>
                    <a:pt x="595" y="97"/>
                    <a:pt x="593" y="92"/>
                  </a:cubicBezTo>
                  <a:cubicBezTo>
                    <a:pt x="591" y="87"/>
                    <a:pt x="590" y="81"/>
                    <a:pt x="590" y="75"/>
                  </a:cubicBezTo>
                  <a:close/>
                  <a:moveTo>
                    <a:pt x="527" y="93"/>
                  </a:moveTo>
                  <a:cubicBezTo>
                    <a:pt x="531" y="96"/>
                    <a:pt x="534" y="98"/>
                    <a:pt x="538" y="100"/>
                  </a:cubicBezTo>
                  <a:cubicBezTo>
                    <a:pt x="541" y="101"/>
                    <a:pt x="545" y="102"/>
                    <a:pt x="549" y="102"/>
                  </a:cubicBezTo>
                  <a:cubicBezTo>
                    <a:pt x="553" y="102"/>
                    <a:pt x="556" y="101"/>
                    <a:pt x="558" y="99"/>
                  </a:cubicBezTo>
                  <a:cubicBezTo>
                    <a:pt x="560" y="97"/>
                    <a:pt x="561" y="95"/>
                    <a:pt x="561" y="92"/>
                  </a:cubicBezTo>
                  <a:cubicBezTo>
                    <a:pt x="561" y="91"/>
                    <a:pt x="561" y="89"/>
                    <a:pt x="560" y="88"/>
                  </a:cubicBezTo>
                  <a:cubicBezTo>
                    <a:pt x="559" y="87"/>
                    <a:pt x="558" y="86"/>
                    <a:pt x="556" y="85"/>
                  </a:cubicBezTo>
                  <a:cubicBezTo>
                    <a:pt x="554" y="84"/>
                    <a:pt x="553" y="83"/>
                    <a:pt x="551" y="82"/>
                  </a:cubicBezTo>
                  <a:cubicBezTo>
                    <a:pt x="549" y="82"/>
                    <a:pt x="547" y="81"/>
                    <a:pt x="545" y="80"/>
                  </a:cubicBezTo>
                  <a:cubicBezTo>
                    <a:pt x="542" y="79"/>
                    <a:pt x="540" y="78"/>
                    <a:pt x="537" y="77"/>
                  </a:cubicBezTo>
                  <a:cubicBezTo>
                    <a:pt x="534" y="75"/>
                    <a:pt x="532" y="74"/>
                    <a:pt x="530" y="72"/>
                  </a:cubicBezTo>
                  <a:cubicBezTo>
                    <a:pt x="528" y="70"/>
                    <a:pt x="526" y="68"/>
                    <a:pt x="525" y="66"/>
                  </a:cubicBezTo>
                  <a:cubicBezTo>
                    <a:pt x="523" y="63"/>
                    <a:pt x="523" y="61"/>
                    <a:pt x="523" y="57"/>
                  </a:cubicBezTo>
                  <a:cubicBezTo>
                    <a:pt x="523" y="50"/>
                    <a:pt x="525" y="45"/>
                    <a:pt x="530" y="41"/>
                  </a:cubicBezTo>
                  <a:cubicBezTo>
                    <a:pt x="535" y="36"/>
                    <a:pt x="542" y="34"/>
                    <a:pt x="551" y="34"/>
                  </a:cubicBezTo>
                  <a:cubicBezTo>
                    <a:pt x="557" y="34"/>
                    <a:pt x="561" y="35"/>
                    <a:pt x="566" y="37"/>
                  </a:cubicBezTo>
                  <a:cubicBezTo>
                    <a:pt x="570" y="39"/>
                    <a:pt x="574" y="41"/>
                    <a:pt x="577" y="43"/>
                  </a:cubicBezTo>
                  <a:lnTo>
                    <a:pt x="569" y="54"/>
                  </a:lnTo>
                  <a:cubicBezTo>
                    <a:pt x="566" y="52"/>
                    <a:pt x="563" y="51"/>
                    <a:pt x="560" y="50"/>
                  </a:cubicBezTo>
                  <a:cubicBezTo>
                    <a:pt x="557" y="48"/>
                    <a:pt x="555" y="48"/>
                    <a:pt x="551" y="48"/>
                  </a:cubicBezTo>
                  <a:cubicBezTo>
                    <a:pt x="548" y="48"/>
                    <a:pt x="545" y="49"/>
                    <a:pt x="543" y="50"/>
                  </a:cubicBezTo>
                  <a:cubicBezTo>
                    <a:pt x="541" y="52"/>
                    <a:pt x="540" y="54"/>
                    <a:pt x="540" y="56"/>
                  </a:cubicBezTo>
                  <a:cubicBezTo>
                    <a:pt x="540" y="58"/>
                    <a:pt x="541" y="59"/>
                    <a:pt x="541" y="60"/>
                  </a:cubicBezTo>
                  <a:cubicBezTo>
                    <a:pt x="542" y="62"/>
                    <a:pt x="543" y="63"/>
                    <a:pt x="545" y="63"/>
                  </a:cubicBezTo>
                  <a:cubicBezTo>
                    <a:pt x="546" y="64"/>
                    <a:pt x="548" y="65"/>
                    <a:pt x="550" y="66"/>
                  </a:cubicBezTo>
                  <a:cubicBezTo>
                    <a:pt x="552" y="66"/>
                    <a:pt x="554" y="67"/>
                    <a:pt x="556" y="68"/>
                  </a:cubicBezTo>
                  <a:cubicBezTo>
                    <a:pt x="559" y="69"/>
                    <a:pt x="561" y="70"/>
                    <a:pt x="564" y="71"/>
                  </a:cubicBezTo>
                  <a:cubicBezTo>
                    <a:pt x="567" y="72"/>
                    <a:pt x="569" y="74"/>
                    <a:pt x="571" y="76"/>
                  </a:cubicBezTo>
                  <a:cubicBezTo>
                    <a:pt x="574" y="77"/>
                    <a:pt x="575" y="80"/>
                    <a:pt x="577" y="82"/>
                  </a:cubicBezTo>
                  <a:cubicBezTo>
                    <a:pt x="578" y="85"/>
                    <a:pt x="579" y="88"/>
                    <a:pt x="579" y="92"/>
                  </a:cubicBezTo>
                  <a:cubicBezTo>
                    <a:pt x="579" y="95"/>
                    <a:pt x="578" y="98"/>
                    <a:pt x="577" y="101"/>
                  </a:cubicBezTo>
                  <a:cubicBezTo>
                    <a:pt x="575" y="104"/>
                    <a:pt x="573" y="106"/>
                    <a:pt x="571" y="109"/>
                  </a:cubicBezTo>
                  <a:cubicBezTo>
                    <a:pt x="568" y="111"/>
                    <a:pt x="565" y="112"/>
                    <a:pt x="561" y="114"/>
                  </a:cubicBezTo>
                  <a:cubicBezTo>
                    <a:pt x="557" y="115"/>
                    <a:pt x="553" y="116"/>
                    <a:pt x="548" y="116"/>
                  </a:cubicBezTo>
                  <a:cubicBezTo>
                    <a:pt x="543" y="116"/>
                    <a:pt x="538" y="115"/>
                    <a:pt x="532" y="113"/>
                  </a:cubicBezTo>
                  <a:cubicBezTo>
                    <a:pt x="527" y="110"/>
                    <a:pt x="523" y="108"/>
                    <a:pt x="519" y="105"/>
                  </a:cubicBezTo>
                  <a:lnTo>
                    <a:pt x="527" y="93"/>
                  </a:lnTo>
                  <a:close/>
                  <a:moveTo>
                    <a:pt x="459" y="93"/>
                  </a:moveTo>
                  <a:cubicBezTo>
                    <a:pt x="463" y="96"/>
                    <a:pt x="466" y="98"/>
                    <a:pt x="470" y="100"/>
                  </a:cubicBezTo>
                  <a:cubicBezTo>
                    <a:pt x="473" y="101"/>
                    <a:pt x="477" y="102"/>
                    <a:pt x="481" y="102"/>
                  </a:cubicBezTo>
                  <a:cubicBezTo>
                    <a:pt x="485" y="102"/>
                    <a:pt x="488" y="101"/>
                    <a:pt x="490" y="99"/>
                  </a:cubicBezTo>
                  <a:cubicBezTo>
                    <a:pt x="492" y="97"/>
                    <a:pt x="493" y="95"/>
                    <a:pt x="493" y="92"/>
                  </a:cubicBezTo>
                  <a:cubicBezTo>
                    <a:pt x="493" y="91"/>
                    <a:pt x="493" y="89"/>
                    <a:pt x="492" y="88"/>
                  </a:cubicBezTo>
                  <a:cubicBezTo>
                    <a:pt x="491" y="87"/>
                    <a:pt x="489" y="86"/>
                    <a:pt x="488" y="85"/>
                  </a:cubicBezTo>
                  <a:cubicBezTo>
                    <a:pt x="486" y="84"/>
                    <a:pt x="484" y="83"/>
                    <a:pt x="482" y="82"/>
                  </a:cubicBezTo>
                  <a:cubicBezTo>
                    <a:pt x="480" y="82"/>
                    <a:pt x="478" y="81"/>
                    <a:pt x="476" y="80"/>
                  </a:cubicBezTo>
                  <a:cubicBezTo>
                    <a:pt x="474" y="79"/>
                    <a:pt x="471" y="78"/>
                    <a:pt x="469" y="77"/>
                  </a:cubicBezTo>
                  <a:cubicBezTo>
                    <a:pt x="466" y="75"/>
                    <a:pt x="464" y="74"/>
                    <a:pt x="462" y="72"/>
                  </a:cubicBezTo>
                  <a:cubicBezTo>
                    <a:pt x="460" y="70"/>
                    <a:pt x="458" y="68"/>
                    <a:pt x="457" y="66"/>
                  </a:cubicBezTo>
                  <a:cubicBezTo>
                    <a:pt x="455" y="63"/>
                    <a:pt x="455" y="61"/>
                    <a:pt x="455" y="57"/>
                  </a:cubicBezTo>
                  <a:cubicBezTo>
                    <a:pt x="455" y="50"/>
                    <a:pt x="457" y="45"/>
                    <a:pt x="462" y="41"/>
                  </a:cubicBezTo>
                  <a:cubicBezTo>
                    <a:pt x="467" y="36"/>
                    <a:pt x="474" y="34"/>
                    <a:pt x="483" y="34"/>
                  </a:cubicBezTo>
                  <a:cubicBezTo>
                    <a:pt x="488" y="34"/>
                    <a:pt x="493" y="35"/>
                    <a:pt x="497" y="37"/>
                  </a:cubicBezTo>
                  <a:cubicBezTo>
                    <a:pt x="502" y="39"/>
                    <a:pt x="506" y="41"/>
                    <a:pt x="509" y="43"/>
                  </a:cubicBezTo>
                  <a:lnTo>
                    <a:pt x="500" y="54"/>
                  </a:lnTo>
                  <a:cubicBezTo>
                    <a:pt x="498" y="52"/>
                    <a:pt x="495" y="51"/>
                    <a:pt x="492" y="50"/>
                  </a:cubicBezTo>
                  <a:cubicBezTo>
                    <a:pt x="489" y="48"/>
                    <a:pt x="486" y="48"/>
                    <a:pt x="483" y="48"/>
                  </a:cubicBezTo>
                  <a:cubicBezTo>
                    <a:pt x="479" y="48"/>
                    <a:pt x="476" y="49"/>
                    <a:pt x="475" y="50"/>
                  </a:cubicBezTo>
                  <a:cubicBezTo>
                    <a:pt x="473" y="52"/>
                    <a:pt x="472" y="54"/>
                    <a:pt x="472" y="56"/>
                  </a:cubicBezTo>
                  <a:cubicBezTo>
                    <a:pt x="472" y="58"/>
                    <a:pt x="472" y="59"/>
                    <a:pt x="473" y="60"/>
                  </a:cubicBezTo>
                  <a:cubicBezTo>
                    <a:pt x="474" y="62"/>
                    <a:pt x="475" y="63"/>
                    <a:pt x="477" y="63"/>
                  </a:cubicBezTo>
                  <a:cubicBezTo>
                    <a:pt x="478" y="64"/>
                    <a:pt x="480" y="65"/>
                    <a:pt x="482" y="66"/>
                  </a:cubicBezTo>
                  <a:cubicBezTo>
                    <a:pt x="484" y="66"/>
                    <a:pt x="486" y="67"/>
                    <a:pt x="488" y="68"/>
                  </a:cubicBezTo>
                  <a:cubicBezTo>
                    <a:pt x="491" y="69"/>
                    <a:pt x="493" y="70"/>
                    <a:pt x="496" y="71"/>
                  </a:cubicBezTo>
                  <a:cubicBezTo>
                    <a:pt x="499" y="72"/>
                    <a:pt x="501" y="74"/>
                    <a:pt x="503" y="76"/>
                  </a:cubicBezTo>
                  <a:cubicBezTo>
                    <a:pt x="505" y="77"/>
                    <a:pt x="507" y="80"/>
                    <a:pt x="508" y="82"/>
                  </a:cubicBezTo>
                  <a:cubicBezTo>
                    <a:pt x="510" y="85"/>
                    <a:pt x="510" y="88"/>
                    <a:pt x="510" y="92"/>
                  </a:cubicBezTo>
                  <a:cubicBezTo>
                    <a:pt x="510" y="95"/>
                    <a:pt x="510" y="98"/>
                    <a:pt x="508" y="101"/>
                  </a:cubicBezTo>
                  <a:cubicBezTo>
                    <a:pt x="507" y="104"/>
                    <a:pt x="505" y="106"/>
                    <a:pt x="503" y="109"/>
                  </a:cubicBezTo>
                  <a:cubicBezTo>
                    <a:pt x="500" y="111"/>
                    <a:pt x="497" y="112"/>
                    <a:pt x="493" y="114"/>
                  </a:cubicBezTo>
                  <a:cubicBezTo>
                    <a:pt x="489" y="115"/>
                    <a:pt x="485" y="116"/>
                    <a:pt x="480" y="116"/>
                  </a:cubicBezTo>
                  <a:cubicBezTo>
                    <a:pt x="475" y="116"/>
                    <a:pt x="469" y="115"/>
                    <a:pt x="464" y="113"/>
                  </a:cubicBezTo>
                  <a:cubicBezTo>
                    <a:pt x="459" y="110"/>
                    <a:pt x="454" y="108"/>
                    <a:pt x="451" y="105"/>
                  </a:cubicBezTo>
                  <a:lnTo>
                    <a:pt x="459" y="93"/>
                  </a:lnTo>
                  <a:close/>
                  <a:moveTo>
                    <a:pt x="390" y="91"/>
                  </a:moveTo>
                  <a:cubicBezTo>
                    <a:pt x="390" y="95"/>
                    <a:pt x="391" y="97"/>
                    <a:pt x="393" y="99"/>
                  </a:cubicBezTo>
                  <a:cubicBezTo>
                    <a:pt x="395" y="101"/>
                    <a:pt x="398" y="101"/>
                    <a:pt x="401" y="101"/>
                  </a:cubicBezTo>
                  <a:cubicBezTo>
                    <a:pt x="404" y="101"/>
                    <a:pt x="407" y="101"/>
                    <a:pt x="410" y="99"/>
                  </a:cubicBezTo>
                  <a:cubicBezTo>
                    <a:pt x="412" y="98"/>
                    <a:pt x="415" y="96"/>
                    <a:pt x="418" y="93"/>
                  </a:cubicBezTo>
                  <a:lnTo>
                    <a:pt x="418" y="75"/>
                  </a:lnTo>
                  <a:cubicBezTo>
                    <a:pt x="413" y="76"/>
                    <a:pt x="408" y="77"/>
                    <a:pt x="405" y="78"/>
                  </a:cubicBezTo>
                  <a:cubicBezTo>
                    <a:pt x="401" y="79"/>
                    <a:pt x="398" y="80"/>
                    <a:pt x="396" y="81"/>
                  </a:cubicBezTo>
                  <a:cubicBezTo>
                    <a:pt x="394" y="83"/>
                    <a:pt x="392" y="84"/>
                    <a:pt x="391" y="86"/>
                  </a:cubicBezTo>
                  <a:cubicBezTo>
                    <a:pt x="390" y="88"/>
                    <a:pt x="390" y="89"/>
                    <a:pt x="390" y="91"/>
                  </a:cubicBezTo>
                  <a:close/>
                  <a:moveTo>
                    <a:pt x="372" y="93"/>
                  </a:moveTo>
                  <a:cubicBezTo>
                    <a:pt x="372" y="84"/>
                    <a:pt x="376" y="78"/>
                    <a:pt x="383" y="73"/>
                  </a:cubicBezTo>
                  <a:cubicBezTo>
                    <a:pt x="390" y="69"/>
                    <a:pt x="402" y="66"/>
                    <a:pt x="418" y="64"/>
                  </a:cubicBezTo>
                  <a:cubicBezTo>
                    <a:pt x="418" y="62"/>
                    <a:pt x="418" y="60"/>
                    <a:pt x="417" y="58"/>
                  </a:cubicBezTo>
                  <a:cubicBezTo>
                    <a:pt x="417" y="56"/>
                    <a:pt x="416" y="55"/>
                    <a:pt x="415" y="53"/>
                  </a:cubicBezTo>
                  <a:cubicBezTo>
                    <a:pt x="414" y="52"/>
                    <a:pt x="412" y="51"/>
                    <a:pt x="410" y="50"/>
                  </a:cubicBezTo>
                  <a:cubicBezTo>
                    <a:pt x="409" y="49"/>
                    <a:pt x="407" y="49"/>
                    <a:pt x="404" y="49"/>
                  </a:cubicBezTo>
                  <a:cubicBezTo>
                    <a:pt x="400" y="49"/>
                    <a:pt x="396" y="50"/>
                    <a:pt x="393" y="51"/>
                  </a:cubicBezTo>
                  <a:cubicBezTo>
                    <a:pt x="389" y="52"/>
                    <a:pt x="385" y="54"/>
                    <a:pt x="382" y="56"/>
                  </a:cubicBezTo>
                  <a:lnTo>
                    <a:pt x="375" y="44"/>
                  </a:lnTo>
                  <a:cubicBezTo>
                    <a:pt x="380" y="41"/>
                    <a:pt x="385" y="39"/>
                    <a:pt x="390" y="37"/>
                  </a:cubicBezTo>
                  <a:cubicBezTo>
                    <a:pt x="395" y="35"/>
                    <a:pt x="401" y="34"/>
                    <a:pt x="407" y="34"/>
                  </a:cubicBezTo>
                  <a:cubicBezTo>
                    <a:pt x="417" y="34"/>
                    <a:pt x="424" y="37"/>
                    <a:pt x="429" y="43"/>
                  </a:cubicBezTo>
                  <a:cubicBezTo>
                    <a:pt x="434" y="48"/>
                    <a:pt x="436" y="57"/>
                    <a:pt x="436" y="68"/>
                  </a:cubicBezTo>
                  <a:lnTo>
                    <a:pt x="436" y="114"/>
                  </a:lnTo>
                  <a:lnTo>
                    <a:pt x="421" y="114"/>
                  </a:lnTo>
                  <a:lnTo>
                    <a:pt x="420" y="105"/>
                  </a:lnTo>
                  <a:lnTo>
                    <a:pt x="419" y="105"/>
                  </a:lnTo>
                  <a:cubicBezTo>
                    <a:pt x="416" y="108"/>
                    <a:pt x="412" y="111"/>
                    <a:pt x="408" y="113"/>
                  </a:cubicBezTo>
                  <a:cubicBezTo>
                    <a:pt x="404" y="115"/>
                    <a:pt x="400" y="116"/>
                    <a:pt x="395" y="116"/>
                  </a:cubicBezTo>
                  <a:cubicBezTo>
                    <a:pt x="388" y="116"/>
                    <a:pt x="383" y="114"/>
                    <a:pt x="379" y="109"/>
                  </a:cubicBezTo>
                  <a:cubicBezTo>
                    <a:pt x="374" y="105"/>
                    <a:pt x="372" y="100"/>
                    <a:pt x="372" y="93"/>
                  </a:cubicBezTo>
                  <a:close/>
                  <a:moveTo>
                    <a:pt x="242" y="10"/>
                  </a:moveTo>
                  <a:lnTo>
                    <a:pt x="261" y="10"/>
                  </a:lnTo>
                  <a:lnTo>
                    <a:pt x="270" y="62"/>
                  </a:lnTo>
                  <a:cubicBezTo>
                    <a:pt x="271" y="68"/>
                    <a:pt x="272" y="74"/>
                    <a:pt x="273" y="79"/>
                  </a:cubicBezTo>
                  <a:cubicBezTo>
                    <a:pt x="274" y="85"/>
                    <a:pt x="274" y="90"/>
                    <a:pt x="275" y="95"/>
                  </a:cubicBezTo>
                  <a:lnTo>
                    <a:pt x="276" y="95"/>
                  </a:lnTo>
                  <a:cubicBezTo>
                    <a:pt x="277" y="90"/>
                    <a:pt x="278" y="84"/>
                    <a:pt x="279" y="79"/>
                  </a:cubicBezTo>
                  <a:cubicBezTo>
                    <a:pt x="280" y="73"/>
                    <a:pt x="282" y="68"/>
                    <a:pt x="283" y="62"/>
                  </a:cubicBezTo>
                  <a:lnTo>
                    <a:pt x="295" y="10"/>
                  </a:lnTo>
                  <a:lnTo>
                    <a:pt x="311" y="10"/>
                  </a:lnTo>
                  <a:lnTo>
                    <a:pt x="324" y="62"/>
                  </a:lnTo>
                  <a:cubicBezTo>
                    <a:pt x="325" y="68"/>
                    <a:pt x="326" y="73"/>
                    <a:pt x="328" y="79"/>
                  </a:cubicBezTo>
                  <a:cubicBezTo>
                    <a:pt x="329" y="84"/>
                    <a:pt x="330" y="90"/>
                    <a:pt x="331" y="95"/>
                  </a:cubicBezTo>
                  <a:lnTo>
                    <a:pt x="332" y="95"/>
                  </a:lnTo>
                  <a:cubicBezTo>
                    <a:pt x="333" y="90"/>
                    <a:pt x="333" y="84"/>
                    <a:pt x="334" y="79"/>
                  </a:cubicBezTo>
                  <a:cubicBezTo>
                    <a:pt x="335" y="73"/>
                    <a:pt x="336" y="68"/>
                    <a:pt x="337" y="62"/>
                  </a:cubicBezTo>
                  <a:lnTo>
                    <a:pt x="346" y="10"/>
                  </a:lnTo>
                  <a:lnTo>
                    <a:pt x="363" y="10"/>
                  </a:lnTo>
                  <a:lnTo>
                    <a:pt x="343" y="114"/>
                  </a:lnTo>
                  <a:lnTo>
                    <a:pt x="321" y="114"/>
                  </a:lnTo>
                  <a:lnTo>
                    <a:pt x="308" y="59"/>
                  </a:lnTo>
                  <a:cubicBezTo>
                    <a:pt x="307" y="55"/>
                    <a:pt x="306" y="51"/>
                    <a:pt x="305" y="47"/>
                  </a:cubicBezTo>
                  <a:cubicBezTo>
                    <a:pt x="305" y="43"/>
                    <a:pt x="304" y="39"/>
                    <a:pt x="303" y="35"/>
                  </a:cubicBezTo>
                  <a:lnTo>
                    <a:pt x="303" y="35"/>
                  </a:lnTo>
                  <a:cubicBezTo>
                    <a:pt x="302" y="39"/>
                    <a:pt x="301" y="43"/>
                    <a:pt x="300" y="47"/>
                  </a:cubicBezTo>
                  <a:cubicBezTo>
                    <a:pt x="299" y="51"/>
                    <a:pt x="299" y="55"/>
                    <a:pt x="298" y="59"/>
                  </a:cubicBezTo>
                  <a:lnTo>
                    <a:pt x="285" y="114"/>
                  </a:lnTo>
                  <a:lnTo>
                    <a:pt x="263" y="114"/>
                  </a:lnTo>
                  <a:lnTo>
                    <a:pt x="242" y="10"/>
                  </a:lnTo>
                  <a:close/>
                  <a:moveTo>
                    <a:pt x="185" y="68"/>
                  </a:moveTo>
                  <a:cubicBezTo>
                    <a:pt x="185" y="62"/>
                    <a:pt x="184" y="57"/>
                    <a:pt x="182" y="53"/>
                  </a:cubicBezTo>
                  <a:cubicBezTo>
                    <a:pt x="179" y="50"/>
                    <a:pt x="175" y="48"/>
                    <a:pt x="170" y="48"/>
                  </a:cubicBezTo>
                  <a:cubicBezTo>
                    <a:pt x="165" y="48"/>
                    <a:pt x="161" y="50"/>
                    <a:pt x="157" y="53"/>
                  </a:cubicBezTo>
                  <a:cubicBezTo>
                    <a:pt x="154" y="56"/>
                    <a:pt x="152" y="61"/>
                    <a:pt x="151" y="68"/>
                  </a:cubicBezTo>
                  <a:lnTo>
                    <a:pt x="185" y="68"/>
                  </a:lnTo>
                  <a:close/>
                  <a:moveTo>
                    <a:pt x="133" y="75"/>
                  </a:moveTo>
                  <a:cubicBezTo>
                    <a:pt x="133" y="69"/>
                    <a:pt x="134" y="63"/>
                    <a:pt x="136" y="58"/>
                  </a:cubicBezTo>
                  <a:cubicBezTo>
                    <a:pt x="138" y="53"/>
                    <a:pt x="141" y="48"/>
                    <a:pt x="144" y="45"/>
                  </a:cubicBezTo>
                  <a:cubicBezTo>
                    <a:pt x="148" y="41"/>
                    <a:pt x="151" y="39"/>
                    <a:pt x="156" y="37"/>
                  </a:cubicBezTo>
                  <a:cubicBezTo>
                    <a:pt x="160" y="35"/>
                    <a:pt x="165" y="34"/>
                    <a:pt x="169" y="34"/>
                  </a:cubicBezTo>
                  <a:cubicBezTo>
                    <a:pt x="174" y="34"/>
                    <a:pt x="179" y="35"/>
                    <a:pt x="183" y="37"/>
                  </a:cubicBezTo>
                  <a:cubicBezTo>
                    <a:pt x="187" y="39"/>
                    <a:pt x="190" y="41"/>
                    <a:pt x="193" y="44"/>
                  </a:cubicBezTo>
                  <a:cubicBezTo>
                    <a:pt x="196" y="48"/>
                    <a:pt x="198" y="52"/>
                    <a:pt x="199" y="56"/>
                  </a:cubicBezTo>
                  <a:cubicBezTo>
                    <a:pt x="201" y="61"/>
                    <a:pt x="201" y="66"/>
                    <a:pt x="201" y="71"/>
                  </a:cubicBezTo>
                  <a:cubicBezTo>
                    <a:pt x="201" y="75"/>
                    <a:pt x="201" y="77"/>
                    <a:pt x="200" y="79"/>
                  </a:cubicBezTo>
                  <a:lnTo>
                    <a:pt x="151" y="79"/>
                  </a:lnTo>
                  <a:cubicBezTo>
                    <a:pt x="152" y="87"/>
                    <a:pt x="154" y="92"/>
                    <a:pt x="158" y="96"/>
                  </a:cubicBezTo>
                  <a:cubicBezTo>
                    <a:pt x="162" y="100"/>
                    <a:pt x="168" y="101"/>
                    <a:pt x="174" y="101"/>
                  </a:cubicBezTo>
                  <a:cubicBezTo>
                    <a:pt x="177" y="101"/>
                    <a:pt x="181" y="101"/>
                    <a:pt x="183" y="100"/>
                  </a:cubicBezTo>
                  <a:cubicBezTo>
                    <a:pt x="186" y="99"/>
                    <a:pt x="189" y="98"/>
                    <a:pt x="192" y="96"/>
                  </a:cubicBezTo>
                  <a:lnTo>
                    <a:pt x="198" y="107"/>
                  </a:lnTo>
                  <a:cubicBezTo>
                    <a:pt x="195" y="110"/>
                    <a:pt x="190" y="112"/>
                    <a:pt x="186" y="113"/>
                  </a:cubicBezTo>
                  <a:cubicBezTo>
                    <a:pt x="181" y="115"/>
                    <a:pt x="177" y="116"/>
                    <a:pt x="172" y="116"/>
                  </a:cubicBezTo>
                  <a:cubicBezTo>
                    <a:pt x="166" y="116"/>
                    <a:pt x="161" y="115"/>
                    <a:pt x="157" y="113"/>
                  </a:cubicBezTo>
                  <a:cubicBezTo>
                    <a:pt x="152" y="111"/>
                    <a:pt x="148" y="108"/>
                    <a:pt x="144" y="105"/>
                  </a:cubicBezTo>
                  <a:cubicBezTo>
                    <a:pt x="141" y="101"/>
                    <a:pt x="138" y="97"/>
                    <a:pt x="136" y="92"/>
                  </a:cubicBezTo>
                  <a:cubicBezTo>
                    <a:pt x="134" y="87"/>
                    <a:pt x="133" y="81"/>
                    <a:pt x="133" y="75"/>
                  </a:cubicBezTo>
                  <a:close/>
                  <a:moveTo>
                    <a:pt x="97" y="36"/>
                  </a:moveTo>
                  <a:lnTo>
                    <a:pt x="115" y="36"/>
                  </a:lnTo>
                  <a:lnTo>
                    <a:pt x="115" y="114"/>
                  </a:lnTo>
                  <a:lnTo>
                    <a:pt x="97" y="114"/>
                  </a:lnTo>
                  <a:lnTo>
                    <a:pt x="97" y="36"/>
                  </a:lnTo>
                  <a:close/>
                  <a:moveTo>
                    <a:pt x="106" y="22"/>
                  </a:moveTo>
                  <a:cubicBezTo>
                    <a:pt x="103" y="22"/>
                    <a:pt x="100" y="21"/>
                    <a:pt x="98" y="19"/>
                  </a:cubicBezTo>
                  <a:cubicBezTo>
                    <a:pt x="96" y="18"/>
                    <a:pt x="95" y="15"/>
                    <a:pt x="95" y="12"/>
                  </a:cubicBezTo>
                  <a:cubicBezTo>
                    <a:pt x="95" y="9"/>
                    <a:pt x="96" y="6"/>
                    <a:pt x="98" y="5"/>
                  </a:cubicBezTo>
                  <a:cubicBezTo>
                    <a:pt x="100" y="3"/>
                    <a:pt x="103" y="2"/>
                    <a:pt x="106" y="2"/>
                  </a:cubicBezTo>
                  <a:cubicBezTo>
                    <a:pt x="109" y="2"/>
                    <a:pt x="112" y="3"/>
                    <a:pt x="114" y="5"/>
                  </a:cubicBezTo>
                  <a:cubicBezTo>
                    <a:pt x="116" y="6"/>
                    <a:pt x="117" y="9"/>
                    <a:pt x="117" y="12"/>
                  </a:cubicBezTo>
                  <a:cubicBezTo>
                    <a:pt x="117" y="15"/>
                    <a:pt x="116" y="18"/>
                    <a:pt x="114" y="19"/>
                  </a:cubicBezTo>
                  <a:cubicBezTo>
                    <a:pt x="112" y="21"/>
                    <a:pt x="109" y="22"/>
                    <a:pt x="106" y="22"/>
                  </a:cubicBezTo>
                  <a:close/>
                  <a:moveTo>
                    <a:pt x="26" y="99"/>
                  </a:moveTo>
                  <a:cubicBezTo>
                    <a:pt x="37" y="99"/>
                    <a:pt x="45" y="96"/>
                    <a:pt x="50" y="90"/>
                  </a:cubicBezTo>
                  <a:cubicBezTo>
                    <a:pt x="56" y="84"/>
                    <a:pt x="59" y="74"/>
                    <a:pt x="59" y="61"/>
                  </a:cubicBezTo>
                  <a:cubicBezTo>
                    <a:pt x="59" y="49"/>
                    <a:pt x="56" y="40"/>
                    <a:pt x="50" y="34"/>
                  </a:cubicBezTo>
                  <a:cubicBezTo>
                    <a:pt x="44" y="28"/>
                    <a:pt x="36" y="25"/>
                    <a:pt x="26" y="25"/>
                  </a:cubicBezTo>
                  <a:lnTo>
                    <a:pt x="18" y="25"/>
                  </a:lnTo>
                  <a:lnTo>
                    <a:pt x="18" y="99"/>
                  </a:lnTo>
                  <a:lnTo>
                    <a:pt x="26" y="99"/>
                  </a:lnTo>
                  <a:close/>
                  <a:moveTo>
                    <a:pt x="0" y="10"/>
                  </a:moveTo>
                  <a:lnTo>
                    <a:pt x="27" y="10"/>
                  </a:lnTo>
                  <a:cubicBezTo>
                    <a:pt x="43" y="10"/>
                    <a:pt x="55" y="14"/>
                    <a:pt x="64" y="23"/>
                  </a:cubicBezTo>
                  <a:cubicBezTo>
                    <a:pt x="73" y="32"/>
                    <a:pt x="78" y="44"/>
                    <a:pt x="78" y="61"/>
                  </a:cubicBezTo>
                  <a:cubicBezTo>
                    <a:pt x="78" y="70"/>
                    <a:pt x="76" y="78"/>
                    <a:pt x="74" y="84"/>
                  </a:cubicBezTo>
                  <a:cubicBezTo>
                    <a:pt x="72" y="91"/>
                    <a:pt x="69" y="96"/>
                    <a:pt x="64" y="100"/>
                  </a:cubicBezTo>
                  <a:cubicBezTo>
                    <a:pt x="60" y="105"/>
                    <a:pt x="55" y="108"/>
                    <a:pt x="49" y="110"/>
                  </a:cubicBezTo>
                  <a:cubicBezTo>
                    <a:pt x="43" y="113"/>
                    <a:pt x="36" y="114"/>
                    <a:pt x="28" y="114"/>
                  </a:cubicBezTo>
                  <a:lnTo>
                    <a:pt x="0" y="114"/>
                  </a:lnTo>
                  <a:lnTo>
                    <a:pt x="0" y="1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66">
              <a:extLst>
                <a:ext uri="{FF2B5EF4-FFF2-40B4-BE49-F238E27FC236}">
                  <a16:creationId xmlns:a16="http://schemas.microsoft.com/office/drawing/2014/main" id="{B09A591F-9AAF-4B2E-81C0-D6936FAC08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1165" y="2208066"/>
              <a:ext cx="17499" cy="89084"/>
            </a:xfrm>
            <a:custGeom>
              <a:avLst/>
              <a:gdLst>
                <a:gd name="T0" fmla="*/ 2 w 22"/>
                <a:gd name="T1" fmla="*/ 34 h 112"/>
                <a:gd name="T2" fmla="*/ 20 w 22"/>
                <a:gd name="T3" fmla="*/ 34 h 112"/>
                <a:gd name="T4" fmla="*/ 20 w 22"/>
                <a:gd name="T5" fmla="*/ 112 h 112"/>
                <a:gd name="T6" fmla="*/ 2 w 22"/>
                <a:gd name="T7" fmla="*/ 112 h 112"/>
                <a:gd name="T8" fmla="*/ 2 w 22"/>
                <a:gd name="T9" fmla="*/ 34 h 112"/>
                <a:gd name="T10" fmla="*/ 11 w 22"/>
                <a:gd name="T11" fmla="*/ 21 h 112"/>
                <a:gd name="T12" fmla="*/ 3 w 22"/>
                <a:gd name="T13" fmla="*/ 18 h 112"/>
                <a:gd name="T14" fmla="*/ 0 w 22"/>
                <a:gd name="T15" fmla="*/ 10 h 112"/>
                <a:gd name="T16" fmla="*/ 3 w 22"/>
                <a:gd name="T17" fmla="*/ 3 h 112"/>
                <a:gd name="T18" fmla="*/ 11 w 22"/>
                <a:gd name="T19" fmla="*/ 0 h 112"/>
                <a:gd name="T20" fmla="*/ 19 w 22"/>
                <a:gd name="T21" fmla="*/ 3 h 112"/>
                <a:gd name="T22" fmla="*/ 22 w 22"/>
                <a:gd name="T23" fmla="*/ 10 h 112"/>
                <a:gd name="T24" fmla="*/ 19 w 22"/>
                <a:gd name="T25" fmla="*/ 18 h 112"/>
                <a:gd name="T26" fmla="*/ 11 w 22"/>
                <a:gd name="T27" fmla="*/ 2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112">
                  <a:moveTo>
                    <a:pt x="2" y="34"/>
                  </a:moveTo>
                  <a:lnTo>
                    <a:pt x="20" y="34"/>
                  </a:lnTo>
                  <a:lnTo>
                    <a:pt x="20" y="112"/>
                  </a:lnTo>
                  <a:lnTo>
                    <a:pt x="2" y="112"/>
                  </a:lnTo>
                  <a:lnTo>
                    <a:pt x="2" y="34"/>
                  </a:lnTo>
                  <a:close/>
                  <a:moveTo>
                    <a:pt x="11" y="21"/>
                  </a:moveTo>
                  <a:cubicBezTo>
                    <a:pt x="8" y="21"/>
                    <a:pt x="5" y="20"/>
                    <a:pt x="3" y="18"/>
                  </a:cubicBezTo>
                  <a:cubicBezTo>
                    <a:pt x="1" y="16"/>
                    <a:pt x="0" y="13"/>
                    <a:pt x="0" y="10"/>
                  </a:cubicBezTo>
                  <a:cubicBezTo>
                    <a:pt x="0" y="7"/>
                    <a:pt x="1" y="5"/>
                    <a:pt x="3" y="3"/>
                  </a:cubicBezTo>
                  <a:cubicBezTo>
                    <a:pt x="5" y="1"/>
                    <a:pt x="8" y="0"/>
                    <a:pt x="11" y="0"/>
                  </a:cubicBezTo>
                  <a:cubicBezTo>
                    <a:pt x="14" y="0"/>
                    <a:pt x="17" y="1"/>
                    <a:pt x="19" y="3"/>
                  </a:cubicBezTo>
                  <a:cubicBezTo>
                    <a:pt x="21" y="5"/>
                    <a:pt x="22" y="7"/>
                    <a:pt x="22" y="10"/>
                  </a:cubicBezTo>
                  <a:cubicBezTo>
                    <a:pt x="22" y="13"/>
                    <a:pt x="21" y="16"/>
                    <a:pt x="19" y="18"/>
                  </a:cubicBezTo>
                  <a:cubicBezTo>
                    <a:pt x="17" y="20"/>
                    <a:pt x="14" y="21"/>
                    <a:pt x="11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67">
              <a:extLst>
                <a:ext uri="{FF2B5EF4-FFF2-40B4-BE49-F238E27FC236}">
                  <a16:creationId xmlns:a16="http://schemas.microsoft.com/office/drawing/2014/main" id="{D6545987-7576-495B-B534-90E0F4FF7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6163" y="2233519"/>
              <a:ext cx="89084" cy="63632"/>
            </a:xfrm>
            <a:custGeom>
              <a:avLst/>
              <a:gdLst>
                <a:gd name="T0" fmla="*/ 0 w 111"/>
                <a:gd name="T1" fmla="*/ 2 h 80"/>
                <a:gd name="T2" fmla="*/ 15 w 111"/>
                <a:gd name="T3" fmla="*/ 2 h 80"/>
                <a:gd name="T4" fmla="*/ 16 w 111"/>
                <a:gd name="T5" fmla="*/ 13 h 80"/>
                <a:gd name="T6" fmla="*/ 17 w 111"/>
                <a:gd name="T7" fmla="*/ 13 h 80"/>
                <a:gd name="T8" fmla="*/ 28 w 111"/>
                <a:gd name="T9" fmla="*/ 4 h 80"/>
                <a:gd name="T10" fmla="*/ 41 w 111"/>
                <a:gd name="T11" fmla="*/ 0 h 80"/>
                <a:gd name="T12" fmla="*/ 54 w 111"/>
                <a:gd name="T13" fmla="*/ 4 h 80"/>
                <a:gd name="T14" fmla="*/ 62 w 111"/>
                <a:gd name="T15" fmla="*/ 14 h 80"/>
                <a:gd name="T16" fmla="*/ 74 w 111"/>
                <a:gd name="T17" fmla="*/ 4 h 80"/>
                <a:gd name="T18" fmla="*/ 87 w 111"/>
                <a:gd name="T19" fmla="*/ 0 h 80"/>
                <a:gd name="T20" fmla="*/ 106 w 111"/>
                <a:gd name="T21" fmla="*/ 8 h 80"/>
                <a:gd name="T22" fmla="*/ 111 w 111"/>
                <a:gd name="T23" fmla="*/ 31 h 80"/>
                <a:gd name="T24" fmla="*/ 111 w 111"/>
                <a:gd name="T25" fmla="*/ 80 h 80"/>
                <a:gd name="T26" fmla="*/ 93 w 111"/>
                <a:gd name="T27" fmla="*/ 80 h 80"/>
                <a:gd name="T28" fmla="*/ 93 w 111"/>
                <a:gd name="T29" fmla="*/ 34 h 80"/>
                <a:gd name="T30" fmla="*/ 90 w 111"/>
                <a:gd name="T31" fmla="*/ 20 h 80"/>
                <a:gd name="T32" fmla="*/ 81 w 111"/>
                <a:gd name="T33" fmla="*/ 16 h 80"/>
                <a:gd name="T34" fmla="*/ 65 w 111"/>
                <a:gd name="T35" fmla="*/ 26 h 80"/>
                <a:gd name="T36" fmla="*/ 65 w 111"/>
                <a:gd name="T37" fmla="*/ 80 h 80"/>
                <a:gd name="T38" fmla="*/ 47 w 111"/>
                <a:gd name="T39" fmla="*/ 80 h 80"/>
                <a:gd name="T40" fmla="*/ 47 w 111"/>
                <a:gd name="T41" fmla="*/ 34 h 80"/>
                <a:gd name="T42" fmla="*/ 44 w 111"/>
                <a:gd name="T43" fmla="*/ 20 h 80"/>
                <a:gd name="T44" fmla="*/ 35 w 111"/>
                <a:gd name="T45" fmla="*/ 16 h 80"/>
                <a:gd name="T46" fmla="*/ 18 w 111"/>
                <a:gd name="T47" fmla="*/ 26 h 80"/>
                <a:gd name="T48" fmla="*/ 18 w 111"/>
                <a:gd name="T49" fmla="*/ 80 h 80"/>
                <a:gd name="T50" fmla="*/ 0 w 111"/>
                <a:gd name="T51" fmla="*/ 80 h 80"/>
                <a:gd name="T52" fmla="*/ 0 w 111"/>
                <a:gd name="T53" fmla="*/ 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1" h="80">
                  <a:moveTo>
                    <a:pt x="0" y="2"/>
                  </a:moveTo>
                  <a:lnTo>
                    <a:pt x="15" y="2"/>
                  </a:lnTo>
                  <a:lnTo>
                    <a:pt x="16" y="13"/>
                  </a:lnTo>
                  <a:lnTo>
                    <a:pt x="17" y="13"/>
                  </a:lnTo>
                  <a:cubicBezTo>
                    <a:pt x="20" y="9"/>
                    <a:pt x="24" y="6"/>
                    <a:pt x="28" y="4"/>
                  </a:cubicBezTo>
                  <a:cubicBezTo>
                    <a:pt x="32" y="2"/>
                    <a:pt x="36" y="0"/>
                    <a:pt x="41" y="0"/>
                  </a:cubicBezTo>
                  <a:cubicBezTo>
                    <a:pt x="46" y="0"/>
                    <a:pt x="51" y="2"/>
                    <a:pt x="54" y="4"/>
                  </a:cubicBezTo>
                  <a:cubicBezTo>
                    <a:pt x="58" y="6"/>
                    <a:pt x="61" y="10"/>
                    <a:pt x="62" y="14"/>
                  </a:cubicBezTo>
                  <a:cubicBezTo>
                    <a:pt x="66" y="10"/>
                    <a:pt x="70" y="7"/>
                    <a:pt x="74" y="4"/>
                  </a:cubicBezTo>
                  <a:cubicBezTo>
                    <a:pt x="78" y="2"/>
                    <a:pt x="82" y="0"/>
                    <a:pt x="87" y="0"/>
                  </a:cubicBezTo>
                  <a:cubicBezTo>
                    <a:pt x="96" y="0"/>
                    <a:pt x="102" y="3"/>
                    <a:pt x="106" y="8"/>
                  </a:cubicBezTo>
                  <a:cubicBezTo>
                    <a:pt x="109" y="14"/>
                    <a:pt x="111" y="21"/>
                    <a:pt x="111" y="31"/>
                  </a:cubicBezTo>
                  <a:lnTo>
                    <a:pt x="111" y="80"/>
                  </a:lnTo>
                  <a:lnTo>
                    <a:pt x="93" y="80"/>
                  </a:lnTo>
                  <a:lnTo>
                    <a:pt x="93" y="34"/>
                  </a:lnTo>
                  <a:cubicBezTo>
                    <a:pt x="93" y="27"/>
                    <a:pt x="92" y="23"/>
                    <a:pt x="90" y="20"/>
                  </a:cubicBezTo>
                  <a:cubicBezTo>
                    <a:pt x="88" y="17"/>
                    <a:pt x="85" y="16"/>
                    <a:pt x="81" y="16"/>
                  </a:cubicBezTo>
                  <a:cubicBezTo>
                    <a:pt x="76" y="16"/>
                    <a:pt x="71" y="19"/>
                    <a:pt x="65" y="26"/>
                  </a:cubicBezTo>
                  <a:lnTo>
                    <a:pt x="65" y="80"/>
                  </a:lnTo>
                  <a:lnTo>
                    <a:pt x="47" y="80"/>
                  </a:lnTo>
                  <a:lnTo>
                    <a:pt x="47" y="34"/>
                  </a:lnTo>
                  <a:cubicBezTo>
                    <a:pt x="47" y="27"/>
                    <a:pt x="46" y="23"/>
                    <a:pt x="44" y="20"/>
                  </a:cubicBezTo>
                  <a:cubicBezTo>
                    <a:pt x="42" y="17"/>
                    <a:pt x="39" y="16"/>
                    <a:pt x="35" y="16"/>
                  </a:cubicBezTo>
                  <a:cubicBezTo>
                    <a:pt x="30" y="16"/>
                    <a:pt x="24" y="19"/>
                    <a:pt x="18" y="26"/>
                  </a:cubicBezTo>
                  <a:lnTo>
                    <a:pt x="18" y="80"/>
                  </a:lnTo>
                  <a:lnTo>
                    <a:pt x="0" y="80"/>
                  </a:lnTo>
                  <a:lnTo>
                    <a:pt x="0" y="2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68">
              <a:extLst>
                <a:ext uri="{FF2B5EF4-FFF2-40B4-BE49-F238E27FC236}">
                  <a16:creationId xmlns:a16="http://schemas.microsoft.com/office/drawing/2014/main" id="{24EC595D-68EA-49DC-9DD0-EBC2A277AA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9789" y="2214429"/>
              <a:ext cx="60450" cy="82721"/>
            </a:xfrm>
            <a:custGeom>
              <a:avLst/>
              <a:gdLst>
                <a:gd name="T0" fmla="*/ 33 w 75"/>
                <a:gd name="T1" fmla="*/ 90 h 104"/>
                <a:gd name="T2" fmla="*/ 51 w 75"/>
                <a:gd name="T3" fmla="*/ 86 h 104"/>
                <a:gd name="T4" fmla="*/ 57 w 75"/>
                <a:gd name="T5" fmla="*/ 72 h 104"/>
                <a:gd name="T6" fmla="*/ 51 w 75"/>
                <a:gd name="T7" fmla="*/ 60 h 104"/>
                <a:gd name="T8" fmla="*/ 33 w 75"/>
                <a:gd name="T9" fmla="*/ 57 h 104"/>
                <a:gd name="T10" fmla="*/ 18 w 75"/>
                <a:gd name="T11" fmla="*/ 57 h 104"/>
                <a:gd name="T12" fmla="*/ 18 w 75"/>
                <a:gd name="T13" fmla="*/ 90 h 104"/>
                <a:gd name="T14" fmla="*/ 33 w 75"/>
                <a:gd name="T15" fmla="*/ 90 h 104"/>
                <a:gd name="T16" fmla="*/ 31 w 75"/>
                <a:gd name="T17" fmla="*/ 43 h 104"/>
                <a:gd name="T18" fmla="*/ 47 w 75"/>
                <a:gd name="T19" fmla="*/ 39 h 104"/>
                <a:gd name="T20" fmla="*/ 52 w 75"/>
                <a:gd name="T21" fmla="*/ 28 h 104"/>
                <a:gd name="T22" fmla="*/ 47 w 75"/>
                <a:gd name="T23" fmla="*/ 18 h 104"/>
                <a:gd name="T24" fmla="*/ 31 w 75"/>
                <a:gd name="T25" fmla="*/ 15 h 104"/>
                <a:gd name="T26" fmla="*/ 18 w 75"/>
                <a:gd name="T27" fmla="*/ 15 h 104"/>
                <a:gd name="T28" fmla="*/ 18 w 75"/>
                <a:gd name="T29" fmla="*/ 43 h 104"/>
                <a:gd name="T30" fmla="*/ 31 w 75"/>
                <a:gd name="T31" fmla="*/ 43 h 104"/>
                <a:gd name="T32" fmla="*/ 0 w 75"/>
                <a:gd name="T33" fmla="*/ 0 h 104"/>
                <a:gd name="T34" fmla="*/ 33 w 75"/>
                <a:gd name="T35" fmla="*/ 0 h 104"/>
                <a:gd name="T36" fmla="*/ 47 w 75"/>
                <a:gd name="T37" fmla="*/ 2 h 104"/>
                <a:gd name="T38" fmla="*/ 59 w 75"/>
                <a:gd name="T39" fmla="*/ 6 h 104"/>
                <a:gd name="T40" fmla="*/ 67 w 75"/>
                <a:gd name="T41" fmla="*/ 14 h 104"/>
                <a:gd name="T42" fmla="*/ 70 w 75"/>
                <a:gd name="T43" fmla="*/ 26 h 104"/>
                <a:gd name="T44" fmla="*/ 65 w 75"/>
                <a:gd name="T45" fmla="*/ 40 h 104"/>
                <a:gd name="T46" fmla="*/ 52 w 75"/>
                <a:gd name="T47" fmla="*/ 48 h 104"/>
                <a:gd name="T48" fmla="*/ 52 w 75"/>
                <a:gd name="T49" fmla="*/ 49 h 104"/>
                <a:gd name="T50" fmla="*/ 69 w 75"/>
                <a:gd name="T51" fmla="*/ 57 h 104"/>
                <a:gd name="T52" fmla="*/ 75 w 75"/>
                <a:gd name="T53" fmla="*/ 74 h 104"/>
                <a:gd name="T54" fmla="*/ 72 w 75"/>
                <a:gd name="T55" fmla="*/ 87 h 104"/>
                <a:gd name="T56" fmla="*/ 64 w 75"/>
                <a:gd name="T57" fmla="*/ 97 h 104"/>
                <a:gd name="T58" fmla="*/ 51 w 75"/>
                <a:gd name="T59" fmla="*/ 102 h 104"/>
                <a:gd name="T60" fmla="*/ 35 w 75"/>
                <a:gd name="T61" fmla="*/ 104 h 104"/>
                <a:gd name="T62" fmla="*/ 0 w 75"/>
                <a:gd name="T63" fmla="*/ 104 h 104"/>
                <a:gd name="T64" fmla="*/ 0 w 75"/>
                <a:gd name="T6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5" h="104">
                  <a:moveTo>
                    <a:pt x="33" y="90"/>
                  </a:moveTo>
                  <a:cubicBezTo>
                    <a:pt x="41" y="90"/>
                    <a:pt x="47" y="88"/>
                    <a:pt x="51" y="86"/>
                  </a:cubicBezTo>
                  <a:cubicBezTo>
                    <a:pt x="55" y="83"/>
                    <a:pt x="57" y="78"/>
                    <a:pt x="57" y="72"/>
                  </a:cubicBezTo>
                  <a:cubicBezTo>
                    <a:pt x="57" y="67"/>
                    <a:pt x="55" y="63"/>
                    <a:pt x="51" y="60"/>
                  </a:cubicBezTo>
                  <a:cubicBezTo>
                    <a:pt x="47" y="58"/>
                    <a:pt x="41" y="57"/>
                    <a:pt x="33" y="57"/>
                  </a:cubicBezTo>
                  <a:lnTo>
                    <a:pt x="18" y="57"/>
                  </a:lnTo>
                  <a:lnTo>
                    <a:pt x="18" y="90"/>
                  </a:lnTo>
                  <a:lnTo>
                    <a:pt x="33" y="90"/>
                  </a:lnTo>
                  <a:close/>
                  <a:moveTo>
                    <a:pt x="31" y="43"/>
                  </a:moveTo>
                  <a:cubicBezTo>
                    <a:pt x="38" y="43"/>
                    <a:pt x="44" y="42"/>
                    <a:pt x="47" y="39"/>
                  </a:cubicBezTo>
                  <a:cubicBezTo>
                    <a:pt x="50" y="37"/>
                    <a:pt x="52" y="33"/>
                    <a:pt x="52" y="28"/>
                  </a:cubicBezTo>
                  <a:cubicBezTo>
                    <a:pt x="52" y="23"/>
                    <a:pt x="50" y="20"/>
                    <a:pt x="47" y="18"/>
                  </a:cubicBezTo>
                  <a:cubicBezTo>
                    <a:pt x="43" y="16"/>
                    <a:pt x="38" y="15"/>
                    <a:pt x="31" y="15"/>
                  </a:cubicBezTo>
                  <a:lnTo>
                    <a:pt x="18" y="15"/>
                  </a:lnTo>
                  <a:lnTo>
                    <a:pt x="18" y="43"/>
                  </a:lnTo>
                  <a:lnTo>
                    <a:pt x="31" y="43"/>
                  </a:lnTo>
                  <a:close/>
                  <a:moveTo>
                    <a:pt x="0" y="0"/>
                  </a:moveTo>
                  <a:lnTo>
                    <a:pt x="33" y="0"/>
                  </a:lnTo>
                  <a:cubicBezTo>
                    <a:pt x="38" y="0"/>
                    <a:pt x="43" y="1"/>
                    <a:pt x="47" y="2"/>
                  </a:cubicBezTo>
                  <a:cubicBezTo>
                    <a:pt x="52" y="3"/>
                    <a:pt x="56" y="4"/>
                    <a:pt x="59" y="6"/>
                  </a:cubicBezTo>
                  <a:cubicBezTo>
                    <a:pt x="63" y="8"/>
                    <a:pt x="65" y="11"/>
                    <a:pt x="67" y="14"/>
                  </a:cubicBezTo>
                  <a:cubicBezTo>
                    <a:pt x="69" y="17"/>
                    <a:pt x="70" y="21"/>
                    <a:pt x="70" y="26"/>
                  </a:cubicBezTo>
                  <a:cubicBezTo>
                    <a:pt x="70" y="31"/>
                    <a:pt x="68" y="36"/>
                    <a:pt x="65" y="40"/>
                  </a:cubicBezTo>
                  <a:cubicBezTo>
                    <a:pt x="62" y="44"/>
                    <a:pt x="58" y="47"/>
                    <a:pt x="52" y="48"/>
                  </a:cubicBezTo>
                  <a:lnTo>
                    <a:pt x="52" y="49"/>
                  </a:lnTo>
                  <a:cubicBezTo>
                    <a:pt x="59" y="50"/>
                    <a:pt x="65" y="53"/>
                    <a:pt x="69" y="57"/>
                  </a:cubicBezTo>
                  <a:cubicBezTo>
                    <a:pt x="73" y="61"/>
                    <a:pt x="75" y="67"/>
                    <a:pt x="75" y="74"/>
                  </a:cubicBezTo>
                  <a:cubicBezTo>
                    <a:pt x="75" y="79"/>
                    <a:pt x="74" y="83"/>
                    <a:pt x="72" y="87"/>
                  </a:cubicBezTo>
                  <a:cubicBezTo>
                    <a:pt x="70" y="91"/>
                    <a:pt x="67" y="94"/>
                    <a:pt x="64" y="97"/>
                  </a:cubicBezTo>
                  <a:cubicBezTo>
                    <a:pt x="60" y="99"/>
                    <a:pt x="56" y="101"/>
                    <a:pt x="51" y="102"/>
                  </a:cubicBezTo>
                  <a:cubicBezTo>
                    <a:pt x="46" y="103"/>
                    <a:pt x="41" y="104"/>
                    <a:pt x="35" y="104"/>
                  </a:cubicBezTo>
                  <a:lnTo>
                    <a:pt x="0" y="104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69">
              <a:extLst>
                <a:ext uri="{FF2B5EF4-FFF2-40B4-BE49-F238E27FC236}">
                  <a16:creationId xmlns:a16="http://schemas.microsoft.com/office/drawing/2014/main" id="{2B3AF36D-6073-41E8-83F1-AC9149B571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34556" y="2214429"/>
              <a:ext cx="62041" cy="82721"/>
            </a:xfrm>
            <a:custGeom>
              <a:avLst/>
              <a:gdLst>
                <a:gd name="T0" fmla="*/ 27 w 78"/>
                <a:gd name="T1" fmla="*/ 89 h 104"/>
                <a:gd name="T2" fmla="*/ 51 w 78"/>
                <a:gd name="T3" fmla="*/ 80 h 104"/>
                <a:gd name="T4" fmla="*/ 59 w 78"/>
                <a:gd name="T5" fmla="*/ 52 h 104"/>
                <a:gd name="T6" fmla="*/ 51 w 78"/>
                <a:gd name="T7" fmla="*/ 24 h 104"/>
                <a:gd name="T8" fmla="*/ 27 w 78"/>
                <a:gd name="T9" fmla="*/ 15 h 104"/>
                <a:gd name="T10" fmla="*/ 18 w 78"/>
                <a:gd name="T11" fmla="*/ 15 h 104"/>
                <a:gd name="T12" fmla="*/ 18 w 78"/>
                <a:gd name="T13" fmla="*/ 89 h 104"/>
                <a:gd name="T14" fmla="*/ 27 w 78"/>
                <a:gd name="T15" fmla="*/ 89 h 104"/>
                <a:gd name="T16" fmla="*/ 0 w 78"/>
                <a:gd name="T17" fmla="*/ 0 h 104"/>
                <a:gd name="T18" fmla="*/ 28 w 78"/>
                <a:gd name="T19" fmla="*/ 0 h 104"/>
                <a:gd name="T20" fmla="*/ 65 w 78"/>
                <a:gd name="T21" fmla="*/ 13 h 104"/>
                <a:gd name="T22" fmla="*/ 78 w 78"/>
                <a:gd name="T23" fmla="*/ 52 h 104"/>
                <a:gd name="T24" fmla="*/ 75 w 78"/>
                <a:gd name="T25" fmla="*/ 74 h 104"/>
                <a:gd name="T26" fmla="*/ 65 w 78"/>
                <a:gd name="T27" fmla="*/ 91 h 104"/>
                <a:gd name="T28" fmla="*/ 49 w 78"/>
                <a:gd name="T29" fmla="*/ 101 h 104"/>
                <a:gd name="T30" fmla="*/ 29 w 78"/>
                <a:gd name="T31" fmla="*/ 104 h 104"/>
                <a:gd name="T32" fmla="*/ 0 w 78"/>
                <a:gd name="T33" fmla="*/ 104 h 104"/>
                <a:gd name="T34" fmla="*/ 0 w 78"/>
                <a:gd name="T3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4">
                  <a:moveTo>
                    <a:pt x="27" y="89"/>
                  </a:moveTo>
                  <a:cubicBezTo>
                    <a:pt x="37" y="89"/>
                    <a:pt x="45" y="86"/>
                    <a:pt x="51" y="80"/>
                  </a:cubicBezTo>
                  <a:cubicBezTo>
                    <a:pt x="57" y="74"/>
                    <a:pt x="59" y="65"/>
                    <a:pt x="59" y="52"/>
                  </a:cubicBezTo>
                  <a:cubicBezTo>
                    <a:pt x="59" y="39"/>
                    <a:pt x="56" y="30"/>
                    <a:pt x="51" y="24"/>
                  </a:cubicBezTo>
                  <a:cubicBezTo>
                    <a:pt x="45" y="18"/>
                    <a:pt x="37" y="15"/>
                    <a:pt x="27" y="15"/>
                  </a:cubicBezTo>
                  <a:lnTo>
                    <a:pt x="18" y="15"/>
                  </a:lnTo>
                  <a:lnTo>
                    <a:pt x="18" y="89"/>
                  </a:lnTo>
                  <a:lnTo>
                    <a:pt x="27" y="89"/>
                  </a:lnTo>
                  <a:close/>
                  <a:moveTo>
                    <a:pt x="0" y="0"/>
                  </a:moveTo>
                  <a:lnTo>
                    <a:pt x="28" y="0"/>
                  </a:lnTo>
                  <a:cubicBezTo>
                    <a:pt x="44" y="0"/>
                    <a:pt x="56" y="5"/>
                    <a:pt x="65" y="13"/>
                  </a:cubicBezTo>
                  <a:cubicBezTo>
                    <a:pt x="74" y="22"/>
                    <a:pt x="78" y="35"/>
                    <a:pt x="78" y="52"/>
                  </a:cubicBezTo>
                  <a:cubicBezTo>
                    <a:pt x="78" y="60"/>
                    <a:pt x="77" y="68"/>
                    <a:pt x="75" y="74"/>
                  </a:cubicBezTo>
                  <a:cubicBezTo>
                    <a:pt x="73" y="81"/>
                    <a:pt x="69" y="86"/>
                    <a:pt x="65" y="91"/>
                  </a:cubicBezTo>
                  <a:cubicBezTo>
                    <a:pt x="61" y="95"/>
                    <a:pt x="56" y="98"/>
                    <a:pt x="49" y="101"/>
                  </a:cubicBezTo>
                  <a:cubicBezTo>
                    <a:pt x="43" y="103"/>
                    <a:pt x="36" y="104"/>
                    <a:pt x="29" y="104"/>
                  </a:cubicBezTo>
                  <a:lnTo>
                    <a:pt x="0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70">
              <a:extLst>
                <a:ext uri="{FF2B5EF4-FFF2-40B4-BE49-F238E27FC236}">
                  <a16:creationId xmlns:a16="http://schemas.microsoft.com/office/drawing/2014/main" id="{41C5F703-7772-492D-89C0-786D30D32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095" y="2214429"/>
              <a:ext cx="50905" cy="82721"/>
            </a:xfrm>
            <a:custGeom>
              <a:avLst/>
              <a:gdLst>
                <a:gd name="T0" fmla="*/ 0 w 32"/>
                <a:gd name="T1" fmla="*/ 0 h 52"/>
                <a:gd name="T2" fmla="*/ 31 w 32"/>
                <a:gd name="T3" fmla="*/ 0 h 52"/>
                <a:gd name="T4" fmla="*/ 31 w 32"/>
                <a:gd name="T5" fmla="*/ 8 h 52"/>
                <a:gd name="T6" fmla="*/ 9 w 32"/>
                <a:gd name="T7" fmla="*/ 8 h 52"/>
                <a:gd name="T8" fmla="*/ 9 w 32"/>
                <a:gd name="T9" fmla="*/ 21 h 52"/>
                <a:gd name="T10" fmla="*/ 28 w 32"/>
                <a:gd name="T11" fmla="*/ 21 h 52"/>
                <a:gd name="T12" fmla="*/ 28 w 32"/>
                <a:gd name="T13" fmla="*/ 29 h 52"/>
                <a:gd name="T14" fmla="*/ 9 w 32"/>
                <a:gd name="T15" fmla="*/ 29 h 52"/>
                <a:gd name="T16" fmla="*/ 9 w 32"/>
                <a:gd name="T17" fmla="*/ 45 h 52"/>
                <a:gd name="T18" fmla="*/ 32 w 32"/>
                <a:gd name="T19" fmla="*/ 45 h 52"/>
                <a:gd name="T20" fmla="*/ 32 w 32"/>
                <a:gd name="T21" fmla="*/ 52 h 52"/>
                <a:gd name="T22" fmla="*/ 0 w 32"/>
                <a:gd name="T23" fmla="*/ 52 h 52"/>
                <a:gd name="T24" fmla="*/ 0 w 32"/>
                <a:gd name="T2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52">
                  <a:moveTo>
                    <a:pt x="0" y="0"/>
                  </a:moveTo>
                  <a:lnTo>
                    <a:pt x="31" y="0"/>
                  </a:lnTo>
                  <a:lnTo>
                    <a:pt x="31" y="8"/>
                  </a:lnTo>
                  <a:lnTo>
                    <a:pt x="9" y="8"/>
                  </a:lnTo>
                  <a:lnTo>
                    <a:pt x="9" y="21"/>
                  </a:lnTo>
                  <a:lnTo>
                    <a:pt x="28" y="21"/>
                  </a:lnTo>
                  <a:lnTo>
                    <a:pt x="28" y="29"/>
                  </a:lnTo>
                  <a:lnTo>
                    <a:pt x="9" y="29"/>
                  </a:lnTo>
                  <a:lnTo>
                    <a:pt x="9" y="45"/>
                  </a:lnTo>
                  <a:lnTo>
                    <a:pt x="32" y="45"/>
                  </a:lnTo>
                  <a:lnTo>
                    <a:pt x="32" y="52"/>
                  </a:lnTo>
                  <a:lnTo>
                    <a:pt x="0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71">
              <a:extLst>
                <a:ext uri="{FF2B5EF4-FFF2-40B4-BE49-F238E27FC236}">
                  <a16:creationId xmlns:a16="http://schemas.microsoft.com/office/drawing/2014/main" id="{788BC368-2DC7-4367-A279-6C6E2FE5E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2955" y="2214429"/>
              <a:ext cx="97038" cy="82721"/>
            </a:xfrm>
            <a:custGeom>
              <a:avLst/>
              <a:gdLst>
                <a:gd name="T0" fmla="*/ 0 w 121"/>
                <a:gd name="T1" fmla="*/ 0 h 104"/>
                <a:gd name="T2" fmla="*/ 19 w 121"/>
                <a:gd name="T3" fmla="*/ 0 h 104"/>
                <a:gd name="T4" fmla="*/ 28 w 121"/>
                <a:gd name="T5" fmla="*/ 53 h 104"/>
                <a:gd name="T6" fmla="*/ 30 w 121"/>
                <a:gd name="T7" fmla="*/ 69 h 104"/>
                <a:gd name="T8" fmla="*/ 33 w 121"/>
                <a:gd name="T9" fmla="*/ 86 h 104"/>
                <a:gd name="T10" fmla="*/ 34 w 121"/>
                <a:gd name="T11" fmla="*/ 86 h 104"/>
                <a:gd name="T12" fmla="*/ 37 w 121"/>
                <a:gd name="T13" fmla="*/ 69 h 104"/>
                <a:gd name="T14" fmla="*/ 40 w 121"/>
                <a:gd name="T15" fmla="*/ 53 h 104"/>
                <a:gd name="T16" fmla="*/ 53 w 121"/>
                <a:gd name="T17" fmla="*/ 0 h 104"/>
                <a:gd name="T18" fmla="*/ 69 w 121"/>
                <a:gd name="T19" fmla="*/ 0 h 104"/>
                <a:gd name="T20" fmla="*/ 82 w 121"/>
                <a:gd name="T21" fmla="*/ 53 h 104"/>
                <a:gd name="T22" fmla="*/ 85 w 121"/>
                <a:gd name="T23" fmla="*/ 69 h 104"/>
                <a:gd name="T24" fmla="*/ 89 w 121"/>
                <a:gd name="T25" fmla="*/ 86 h 104"/>
                <a:gd name="T26" fmla="*/ 89 w 121"/>
                <a:gd name="T27" fmla="*/ 86 h 104"/>
                <a:gd name="T28" fmla="*/ 92 w 121"/>
                <a:gd name="T29" fmla="*/ 69 h 104"/>
                <a:gd name="T30" fmla="*/ 94 w 121"/>
                <a:gd name="T31" fmla="*/ 53 h 104"/>
                <a:gd name="T32" fmla="*/ 103 w 121"/>
                <a:gd name="T33" fmla="*/ 0 h 104"/>
                <a:gd name="T34" fmla="*/ 121 w 121"/>
                <a:gd name="T35" fmla="*/ 0 h 104"/>
                <a:gd name="T36" fmla="*/ 101 w 121"/>
                <a:gd name="T37" fmla="*/ 104 h 104"/>
                <a:gd name="T38" fmla="*/ 78 w 121"/>
                <a:gd name="T39" fmla="*/ 104 h 104"/>
                <a:gd name="T40" fmla="*/ 65 w 121"/>
                <a:gd name="T41" fmla="*/ 50 h 104"/>
                <a:gd name="T42" fmla="*/ 63 w 121"/>
                <a:gd name="T43" fmla="*/ 38 h 104"/>
                <a:gd name="T44" fmla="*/ 61 w 121"/>
                <a:gd name="T45" fmla="*/ 26 h 104"/>
                <a:gd name="T46" fmla="*/ 60 w 121"/>
                <a:gd name="T47" fmla="*/ 26 h 104"/>
                <a:gd name="T48" fmla="*/ 58 w 121"/>
                <a:gd name="T49" fmla="*/ 38 h 104"/>
                <a:gd name="T50" fmla="*/ 55 w 121"/>
                <a:gd name="T51" fmla="*/ 50 h 104"/>
                <a:gd name="T52" fmla="*/ 43 w 121"/>
                <a:gd name="T53" fmla="*/ 104 h 104"/>
                <a:gd name="T54" fmla="*/ 21 w 121"/>
                <a:gd name="T55" fmla="*/ 104 h 104"/>
                <a:gd name="T56" fmla="*/ 0 w 121"/>
                <a:gd name="T5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1" h="104">
                  <a:moveTo>
                    <a:pt x="0" y="0"/>
                  </a:moveTo>
                  <a:lnTo>
                    <a:pt x="19" y="0"/>
                  </a:lnTo>
                  <a:lnTo>
                    <a:pt x="28" y="53"/>
                  </a:lnTo>
                  <a:cubicBezTo>
                    <a:pt x="29" y="58"/>
                    <a:pt x="30" y="64"/>
                    <a:pt x="30" y="69"/>
                  </a:cubicBezTo>
                  <a:cubicBezTo>
                    <a:pt x="31" y="75"/>
                    <a:pt x="32" y="80"/>
                    <a:pt x="33" y="86"/>
                  </a:cubicBezTo>
                  <a:lnTo>
                    <a:pt x="34" y="86"/>
                  </a:lnTo>
                  <a:cubicBezTo>
                    <a:pt x="35" y="80"/>
                    <a:pt x="36" y="75"/>
                    <a:pt x="37" y="69"/>
                  </a:cubicBezTo>
                  <a:cubicBezTo>
                    <a:pt x="38" y="64"/>
                    <a:pt x="39" y="58"/>
                    <a:pt x="40" y="53"/>
                  </a:cubicBezTo>
                  <a:lnTo>
                    <a:pt x="53" y="0"/>
                  </a:lnTo>
                  <a:lnTo>
                    <a:pt x="69" y="0"/>
                  </a:lnTo>
                  <a:lnTo>
                    <a:pt x="82" y="53"/>
                  </a:lnTo>
                  <a:cubicBezTo>
                    <a:pt x="83" y="58"/>
                    <a:pt x="84" y="64"/>
                    <a:pt x="85" y="69"/>
                  </a:cubicBezTo>
                  <a:cubicBezTo>
                    <a:pt x="86" y="75"/>
                    <a:pt x="87" y="80"/>
                    <a:pt x="89" y="86"/>
                  </a:cubicBezTo>
                  <a:lnTo>
                    <a:pt x="89" y="86"/>
                  </a:lnTo>
                  <a:cubicBezTo>
                    <a:pt x="90" y="80"/>
                    <a:pt x="91" y="75"/>
                    <a:pt x="92" y="69"/>
                  </a:cubicBezTo>
                  <a:cubicBezTo>
                    <a:pt x="93" y="64"/>
                    <a:pt x="93" y="58"/>
                    <a:pt x="94" y="53"/>
                  </a:cubicBezTo>
                  <a:lnTo>
                    <a:pt x="103" y="0"/>
                  </a:lnTo>
                  <a:lnTo>
                    <a:pt x="121" y="0"/>
                  </a:lnTo>
                  <a:lnTo>
                    <a:pt x="101" y="104"/>
                  </a:lnTo>
                  <a:lnTo>
                    <a:pt x="78" y="104"/>
                  </a:lnTo>
                  <a:lnTo>
                    <a:pt x="65" y="50"/>
                  </a:lnTo>
                  <a:cubicBezTo>
                    <a:pt x="65" y="46"/>
                    <a:pt x="64" y="42"/>
                    <a:pt x="63" y="38"/>
                  </a:cubicBezTo>
                  <a:cubicBezTo>
                    <a:pt x="62" y="34"/>
                    <a:pt x="61" y="30"/>
                    <a:pt x="61" y="26"/>
                  </a:cubicBezTo>
                  <a:lnTo>
                    <a:pt x="60" y="26"/>
                  </a:lnTo>
                  <a:cubicBezTo>
                    <a:pt x="59" y="30"/>
                    <a:pt x="59" y="34"/>
                    <a:pt x="58" y="38"/>
                  </a:cubicBezTo>
                  <a:cubicBezTo>
                    <a:pt x="57" y="42"/>
                    <a:pt x="56" y="46"/>
                    <a:pt x="55" y="50"/>
                  </a:cubicBezTo>
                  <a:lnTo>
                    <a:pt x="43" y="104"/>
                  </a:lnTo>
                  <a:lnTo>
                    <a:pt x="21" y="104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0670969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9D276E-5686-493E-B068-DFD91698EB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1970CB3-369A-459C-B8F5-D682DCF96C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047E442-FF05-4786-A3D3-663B6F419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4BDF71-65FA-410D-B38B-224FD5E5814E}" type="datetime1">
              <a:rPr lang="de-DE" smtClean="0"/>
              <a:t>24.11.2022</a:t>
            </a:fld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CFE638E-559C-40A0-B414-45DFF2BF41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B6B2C9-A658-4A78-900F-9713B72E9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6591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D921C730-CDAF-45FF-8EA4-7A247E800D9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911975" y="863599"/>
            <a:ext cx="1871663" cy="4105052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C5D6D36-B938-481F-AB85-46AFF5F560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31255" y="863599"/>
            <a:ext cx="6192838" cy="4105051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BC009F4A-D274-4CA1-9AF4-D972910706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CC1C02-BFA9-40C2-8A5A-8ED8299C564A}" type="datetime1">
              <a:rPr lang="de-DE" smtClean="0"/>
              <a:t>24.11.2022</a:t>
            </a:fld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69329BF-4531-4866-A67A-9D8642215B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8626483-6C39-43BD-82AA-0E18E56B4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3746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0" name="Gruppieren 239">
            <a:extLst>
              <a:ext uri="{FF2B5EF4-FFF2-40B4-BE49-F238E27FC236}">
                <a16:creationId xmlns:a16="http://schemas.microsoft.com/office/drawing/2014/main" id="{635DE3A3-5F75-4957-8585-713416C3BA2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71990" y="576162"/>
            <a:ext cx="1800225" cy="1224000"/>
            <a:chOff x="7271990" y="576162"/>
            <a:chExt cx="1800225" cy="1224000"/>
          </a:xfrm>
        </p:grpSpPr>
        <p:sp>
          <p:nvSpPr>
            <p:cNvPr id="241" name="Rectangle 6">
              <a:extLst>
                <a:ext uri="{FF2B5EF4-FFF2-40B4-BE49-F238E27FC236}">
                  <a16:creationId xmlns:a16="http://schemas.microsoft.com/office/drawing/2014/main" id="{FC072CB3-74F3-433F-A5FE-3F1AF3C6175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71990" y="576162"/>
              <a:ext cx="1800225" cy="1224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grpSp>
          <p:nvGrpSpPr>
            <p:cNvPr id="242" name="Gruppieren 241">
              <a:extLst>
                <a:ext uri="{FF2B5EF4-FFF2-40B4-BE49-F238E27FC236}">
                  <a16:creationId xmlns:a16="http://schemas.microsoft.com/office/drawing/2014/main" id="{5FA7764E-1C3B-47DF-8BAD-7DDB70F8FEAE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7538786" y="868025"/>
              <a:ext cx="1244600" cy="646113"/>
              <a:chOff x="7538786" y="868025"/>
              <a:chExt cx="1244600" cy="646113"/>
            </a:xfrm>
          </p:grpSpPr>
          <p:sp>
            <p:nvSpPr>
              <p:cNvPr id="243" name="Freeform 38">
                <a:extLst>
                  <a:ext uri="{FF2B5EF4-FFF2-40B4-BE49-F238E27FC236}">
                    <a16:creationId xmlns:a16="http://schemas.microsoft.com/office/drawing/2014/main" id="{A8E670C4-5CE3-4C4C-A26F-FED2E9185BB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1398250"/>
                <a:ext cx="1244600" cy="115888"/>
              </a:xfrm>
              <a:custGeom>
                <a:avLst/>
                <a:gdLst>
                  <a:gd name="T0" fmla="*/ 1559 w 1559"/>
                  <a:gd name="T1" fmla="*/ 104 h 146"/>
                  <a:gd name="T2" fmla="*/ 1471 w 1559"/>
                  <a:gd name="T3" fmla="*/ 48 h 146"/>
                  <a:gd name="T4" fmla="*/ 1472 w 1559"/>
                  <a:gd name="T5" fmla="*/ 114 h 146"/>
                  <a:gd name="T6" fmla="*/ 1518 w 1559"/>
                  <a:gd name="T7" fmla="*/ 114 h 146"/>
                  <a:gd name="T8" fmla="*/ 1433 w 1559"/>
                  <a:gd name="T9" fmla="*/ 74 h 146"/>
                  <a:gd name="T10" fmla="*/ 1431 w 1559"/>
                  <a:gd name="T11" fmla="*/ 92 h 146"/>
                  <a:gd name="T12" fmla="*/ 1332 w 1559"/>
                  <a:gd name="T13" fmla="*/ 75 h 146"/>
                  <a:gd name="T14" fmla="*/ 1332 w 1559"/>
                  <a:gd name="T15" fmla="*/ 75 h 146"/>
                  <a:gd name="T16" fmla="*/ 1304 w 1559"/>
                  <a:gd name="T17" fmla="*/ 2 h 146"/>
                  <a:gd name="T18" fmla="*/ 1303 w 1559"/>
                  <a:gd name="T19" fmla="*/ 108 h 146"/>
                  <a:gd name="T20" fmla="*/ 1232 w 1559"/>
                  <a:gd name="T21" fmla="*/ 51 h 146"/>
                  <a:gd name="T22" fmla="*/ 1231 w 1559"/>
                  <a:gd name="T23" fmla="*/ 115 h 146"/>
                  <a:gd name="T24" fmla="*/ 1265 w 1559"/>
                  <a:gd name="T25" fmla="*/ 80 h 146"/>
                  <a:gd name="T26" fmla="*/ 1145 w 1559"/>
                  <a:gd name="T27" fmla="*/ 11 h 146"/>
                  <a:gd name="T28" fmla="*/ 1061 w 1559"/>
                  <a:gd name="T29" fmla="*/ 92 h 146"/>
                  <a:gd name="T30" fmla="*/ 1044 w 1559"/>
                  <a:gd name="T31" fmla="*/ 37 h 146"/>
                  <a:gd name="T32" fmla="*/ 1008 w 1559"/>
                  <a:gd name="T33" fmla="*/ 56 h 146"/>
                  <a:gd name="T34" fmla="*/ 1051 w 1559"/>
                  <a:gd name="T35" fmla="*/ 54 h 146"/>
                  <a:gd name="T36" fmla="*/ 970 w 1559"/>
                  <a:gd name="T37" fmla="*/ 68 h 146"/>
                  <a:gd name="T38" fmla="*/ 989 w 1559"/>
                  <a:gd name="T39" fmla="*/ 108 h 146"/>
                  <a:gd name="T40" fmla="*/ 990 w 1559"/>
                  <a:gd name="T41" fmla="*/ 74 h 146"/>
                  <a:gd name="T42" fmla="*/ 906 w 1559"/>
                  <a:gd name="T43" fmla="*/ 57 h 146"/>
                  <a:gd name="T44" fmla="*/ 892 w 1559"/>
                  <a:gd name="T45" fmla="*/ 92 h 146"/>
                  <a:gd name="T46" fmla="*/ 911 w 1559"/>
                  <a:gd name="T47" fmla="*/ 91 h 146"/>
                  <a:gd name="T48" fmla="*/ 837 w 1559"/>
                  <a:gd name="T49" fmla="*/ 57 h 146"/>
                  <a:gd name="T50" fmla="*/ 823 w 1559"/>
                  <a:gd name="T51" fmla="*/ 92 h 146"/>
                  <a:gd name="T52" fmla="*/ 843 w 1559"/>
                  <a:gd name="T53" fmla="*/ 91 h 146"/>
                  <a:gd name="T54" fmla="*/ 749 w 1559"/>
                  <a:gd name="T55" fmla="*/ 80 h 146"/>
                  <a:gd name="T56" fmla="*/ 765 w 1559"/>
                  <a:gd name="T57" fmla="*/ 43 h 146"/>
                  <a:gd name="T58" fmla="*/ 749 w 1559"/>
                  <a:gd name="T59" fmla="*/ 61 h 146"/>
                  <a:gd name="T60" fmla="*/ 751 w 1559"/>
                  <a:gd name="T61" fmla="*/ 107 h 146"/>
                  <a:gd name="T62" fmla="*/ 667 w 1559"/>
                  <a:gd name="T63" fmla="*/ 61 h 146"/>
                  <a:gd name="T64" fmla="*/ 613 w 1559"/>
                  <a:gd name="T65" fmla="*/ 61 h 146"/>
                  <a:gd name="T66" fmla="*/ 597 w 1559"/>
                  <a:gd name="T67" fmla="*/ 114 h 146"/>
                  <a:gd name="T68" fmla="*/ 650 w 1559"/>
                  <a:gd name="T69" fmla="*/ 114 h 146"/>
                  <a:gd name="T70" fmla="*/ 512 w 1559"/>
                  <a:gd name="T71" fmla="*/ 104 h 146"/>
                  <a:gd name="T72" fmla="*/ 464 w 1559"/>
                  <a:gd name="T73" fmla="*/ 51 h 146"/>
                  <a:gd name="T74" fmla="*/ 462 w 1559"/>
                  <a:gd name="T75" fmla="*/ 115 h 146"/>
                  <a:gd name="T76" fmla="*/ 496 w 1559"/>
                  <a:gd name="T77" fmla="*/ 80 h 146"/>
                  <a:gd name="T78" fmla="*/ 393 w 1559"/>
                  <a:gd name="T79" fmla="*/ 38 h 146"/>
                  <a:gd name="T80" fmla="*/ 391 w 1559"/>
                  <a:gd name="T81" fmla="*/ 12 h 146"/>
                  <a:gd name="T82" fmla="*/ 326 w 1559"/>
                  <a:gd name="T83" fmla="*/ 75 h 146"/>
                  <a:gd name="T84" fmla="*/ 355 w 1559"/>
                  <a:gd name="T85" fmla="*/ 38 h 146"/>
                  <a:gd name="T86" fmla="*/ 353 w 1559"/>
                  <a:gd name="T87" fmla="*/ 103 h 146"/>
                  <a:gd name="T88" fmla="*/ 310 w 1559"/>
                  <a:gd name="T89" fmla="*/ 122 h 146"/>
                  <a:gd name="T90" fmla="*/ 373 w 1559"/>
                  <a:gd name="T91" fmla="*/ 56 h 146"/>
                  <a:gd name="T92" fmla="*/ 269 w 1559"/>
                  <a:gd name="T93" fmla="*/ 47 h 146"/>
                  <a:gd name="T94" fmla="*/ 270 w 1559"/>
                  <a:gd name="T95" fmla="*/ 114 h 146"/>
                  <a:gd name="T96" fmla="*/ 211 w 1559"/>
                  <a:gd name="T97" fmla="*/ 68 h 146"/>
                  <a:gd name="T98" fmla="*/ 198 w 1559"/>
                  <a:gd name="T99" fmla="*/ 36 h 146"/>
                  <a:gd name="T100" fmla="*/ 200 w 1559"/>
                  <a:gd name="T101" fmla="*/ 100 h 146"/>
                  <a:gd name="T102" fmla="*/ 148 w 1559"/>
                  <a:gd name="T103" fmla="*/ 62 h 146"/>
                  <a:gd name="T104" fmla="*/ 81 w 1559"/>
                  <a:gd name="T105" fmla="*/ 38 h 146"/>
                  <a:gd name="T106" fmla="*/ 119 w 1559"/>
                  <a:gd name="T107" fmla="*/ 54 h 146"/>
                  <a:gd name="T108" fmla="*/ 66 w 1559"/>
                  <a:gd name="T109" fmla="*/ 96 h 146"/>
                  <a:gd name="T110" fmla="*/ 21 w 1559"/>
                  <a:gd name="T111" fmla="*/ 52 h 146"/>
                  <a:gd name="T112" fmla="*/ 0 w 1559"/>
                  <a:gd name="T113" fmla="*/ 11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59" h="146">
                    <a:moveTo>
                      <a:pt x="1559" y="104"/>
                    </a:moveTo>
                    <a:cubicBezTo>
                      <a:pt x="1559" y="98"/>
                      <a:pt x="1556" y="92"/>
                      <a:pt x="1547" y="92"/>
                    </a:cubicBezTo>
                    <a:cubicBezTo>
                      <a:pt x="1539" y="92"/>
                      <a:pt x="1535" y="98"/>
                      <a:pt x="1535" y="104"/>
                    </a:cubicBezTo>
                    <a:cubicBezTo>
                      <a:pt x="1535" y="110"/>
                      <a:pt x="1539" y="116"/>
                      <a:pt x="1547" y="116"/>
                    </a:cubicBezTo>
                    <a:cubicBezTo>
                      <a:pt x="1556" y="116"/>
                      <a:pt x="1559" y="110"/>
                      <a:pt x="1559" y="104"/>
                    </a:cubicBezTo>
                    <a:close/>
                    <a:moveTo>
                      <a:pt x="1518" y="114"/>
                    </a:moveTo>
                    <a:lnTo>
                      <a:pt x="1518" y="62"/>
                    </a:lnTo>
                    <a:cubicBezTo>
                      <a:pt x="1518" y="55"/>
                      <a:pt x="1517" y="49"/>
                      <a:pt x="1514" y="45"/>
                    </a:cubicBezTo>
                    <a:cubicBezTo>
                      <a:pt x="1510" y="39"/>
                      <a:pt x="1504" y="36"/>
                      <a:pt x="1495" y="36"/>
                    </a:cubicBezTo>
                    <a:cubicBezTo>
                      <a:pt x="1485" y="36"/>
                      <a:pt x="1474" y="45"/>
                      <a:pt x="1471" y="48"/>
                    </a:cubicBezTo>
                    <a:cubicBezTo>
                      <a:pt x="1471" y="43"/>
                      <a:pt x="1470" y="38"/>
                      <a:pt x="1470" y="38"/>
                    </a:cubicBezTo>
                    <a:lnTo>
                      <a:pt x="1450" y="38"/>
                    </a:lnTo>
                    <a:cubicBezTo>
                      <a:pt x="1450" y="38"/>
                      <a:pt x="1451" y="47"/>
                      <a:pt x="1451" y="56"/>
                    </a:cubicBezTo>
                    <a:lnTo>
                      <a:pt x="1451" y="114"/>
                    </a:lnTo>
                    <a:lnTo>
                      <a:pt x="1472" y="114"/>
                    </a:lnTo>
                    <a:lnTo>
                      <a:pt x="1472" y="62"/>
                    </a:lnTo>
                    <a:cubicBezTo>
                      <a:pt x="1475" y="59"/>
                      <a:pt x="1482" y="54"/>
                      <a:pt x="1488" y="54"/>
                    </a:cubicBezTo>
                    <a:cubicBezTo>
                      <a:pt x="1493" y="54"/>
                      <a:pt x="1497" y="55"/>
                      <a:pt x="1497" y="64"/>
                    </a:cubicBezTo>
                    <a:lnTo>
                      <a:pt x="1497" y="114"/>
                    </a:lnTo>
                    <a:lnTo>
                      <a:pt x="1518" y="114"/>
                    </a:lnTo>
                    <a:close/>
                    <a:moveTo>
                      <a:pt x="1413" y="68"/>
                    </a:moveTo>
                    <a:lnTo>
                      <a:pt x="1389" y="68"/>
                    </a:lnTo>
                    <a:cubicBezTo>
                      <a:pt x="1389" y="62"/>
                      <a:pt x="1391" y="51"/>
                      <a:pt x="1400" y="51"/>
                    </a:cubicBezTo>
                    <a:cubicBezTo>
                      <a:pt x="1411" y="51"/>
                      <a:pt x="1413" y="62"/>
                      <a:pt x="1413" y="68"/>
                    </a:cubicBezTo>
                    <a:close/>
                    <a:moveTo>
                      <a:pt x="1433" y="74"/>
                    </a:moveTo>
                    <a:cubicBezTo>
                      <a:pt x="1433" y="56"/>
                      <a:pt x="1426" y="36"/>
                      <a:pt x="1400" y="36"/>
                    </a:cubicBezTo>
                    <a:cubicBezTo>
                      <a:pt x="1378" y="36"/>
                      <a:pt x="1367" y="56"/>
                      <a:pt x="1367" y="76"/>
                    </a:cubicBezTo>
                    <a:cubicBezTo>
                      <a:pt x="1367" y="90"/>
                      <a:pt x="1372" y="115"/>
                      <a:pt x="1399" y="115"/>
                    </a:cubicBezTo>
                    <a:cubicBezTo>
                      <a:pt x="1420" y="115"/>
                      <a:pt x="1432" y="108"/>
                      <a:pt x="1432" y="108"/>
                    </a:cubicBezTo>
                    <a:lnTo>
                      <a:pt x="1431" y="92"/>
                    </a:lnTo>
                    <a:cubicBezTo>
                      <a:pt x="1431" y="92"/>
                      <a:pt x="1416" y="100"/>
                      <a:pt x="1402" y="100"/>
                    </a:cubicBezTo>
                    <a:cubicBezTo>
                      <a:pt x="1393" y="100"/>
                      <a:pt x="1389" y="94"/>
                      <a:pt x="1389" y="80"/>
                    </a:cubicBezTo>
                    <a:lnTo>
                      <a:pt x="1433" y="80"/>
                    </a:lnTo>
                    <a:cubicBezTo>
                      <a:pt x="1433" y="80"/>
                      <a:pt x="1433" y="76"/>
                      <a:pt x="1433" y="74"/>
                    </a:cubicBezTo>
                    <a:moveTo>
                      <a:pt x="1332" y="75"/>
                    </a:moveTo>
                    <a:cubicBezTo>
                      <a:pt x="1332" y="93"/>
                      <a:pt x="1326" y="99"/>
                      <a:pt x="1319" y="99"/>
                    </a:cubicBezTo>
                    <a:cubicBezTo>
                      <a:pt x="1316" y="99"/>
                      <a:pt x="1310" y="97"/>
                      <a:pt x="1304" y="94"/>
                    </a:cubicBezTo>
                    <a:lnTo>
                      <a:pt x="1304" y="59"/>
                    </a:lnTo>
                    <a:cubicBezTo>
                      <a:pt x="1310" y="54"/>
                      <a:pt x="1316" y="53"/>
                      <a:pt x="1320" y="53"/>
                    </a:cubicBezTo>
                    <a:cubicBezTo>
                      <a:pt x="1330" y="53"/>
                      <a:pt x="1332" y="67"/>
                      <a:pt x="1332" y="75"/>
                    </a:cubicBezTo>
                    <a:close/>
                    <a:moveTo>
                      <a:pt x="1353" y="76"/>
                    </a:moveTo>
                    <a:cubicBezTo>
                      <a:pt x="1353" y="60"/>
                      <a:pt x="1349" y="36"/>
                      <a:pt x="1324" y="36"/>
                    </a:cubicBezTo>
                    <a:cubicBezTo>
                      <a:pt x="1315" y="36"/>
                      <a:pt x="1306" y="43"/>
                      <a:pt x="1304" y="44"/>
                    </a:cubicBezTo>
                    <a:cubicBezTo>
                      <a:pt x="1304" y="44"/>
                      <a:pt x="1304" y="39"/>
                      <a:pt x="1304" y="36"/>
                    </a:cubicBezTo>
                    <a:lnTo>
                      <a:pt x="1304" y="2"/>
                    </a:lnTo>
                    <a:lnTo>
                      <a:pt x="1284" y="4"/>
                    </a:lnTo>
                    <a:lnTo>
                      <a:pt x="1284" y="98"/>
                    </a:lnTo>
                    <a:cubicBezTo>
                      <a:pt x="1284" y="105"/>
                      <a:pt x="1283" y="114"/>
                      <a:pt x="1283" y="114"/>
                    </a:cubicBezTo>
                    <a:lnTo>
                      <a:pt x="1302" y="114"/>
                    </a:lnTo>
                    <a:cubicBezTo>
                      <a:pt x="1303" y="112"/>
                      <a:pt x="1303" y="109"/>
                      <a:pt x="1303" y="108"/>
                    </a:cubicBezTo>
                    <a:cubicBezTo>
                      <a:pt x="1304" y="109"/>
                      <a:pt x="1313" y="115"/>
                      <a:pt x="1324" y="115"/>
                    </a:cubicBezTo>
                    <a:cubicBezTo>
                      <a:pt x="1342" y="115"/>
                      <a:pt x="1353" y="98"/>
                      <a:pt x="1353" y="76"/>
                    </a:cubicBezTo>
                    <a:moveTo>
                      <a:pt x="1245" y="68"/>
                    </a:moveTo>
                    <a:lnTo>
                      <a:pt x="1221" y="68"/>
                    </a:lnTo>
                    <a:cubicBezTo>
                      <a:pt x="1221" y="62"/>
                      <a:pt x="1223" y="51"/>
                      <a:pt x="1232" y="51"/>
                    </a:cubicBezTo>
                    <a:cubicBezTo>
                      <a:pt x="1243" y="51"/>
                      <a:pt x="1245" y="62"/>
                      <a:pt x="1245" y="68"/>
                    </a:cubicBezTo>
                    <a:close/>
                    <a:moveTo>
                      <a:pt x="1265" y="74"/>
                    </a:moveTo>
                    <a:cubicBezTo>
                      <a:pt x="1265" y="56"/>
                      <a:pt x="1258" y="36"/>
                      <a:pt x="1232" y="36"/>
                    </a:cubicBezTo>
                    <a:cubicBezTo>
                      <a:pt x="1210" y="36"/>
                      <a:pt x="1199" y="56"/>
                      <a:pt x="1199" y="76"/>
                    </a:cubicBezTo>
                    <a:cubicBezTo>
                      <a:pt x="1199" y="90"/>
                      <a:pt x="1204" y="115"/>
                      <a:pt x="1231" y="115"/>
                    </a:cubicBezTo>
                    <a:cubicBezTo>
                      <a:pt x="1251" y="115"/>
                      <a:pt x="1264" y="108"/>
                      <a:pt x="1264" y="108"/>
                    </a:cubicBezTo>
                    <a:lnTo>
                      <a:pt x="1263" y="92"/>
                    </a:lnTo>
                    <a:cubicBezTo>
                      <a:pt x="1263" y="92"/>
                      <a:pt x="1248" y="100"/>
                      <a:pt x="1234" y="100"/>
                    </a:cubicBezTo>
                    <a:cubicBezTo>
                      <a:pt x="1225" y="100"/>
                      <a:pt x="1221" y="94"/>
                      <a:pt x="1221" y="80"/>
                    </a:cubicBezTo>
                    <a:lnTo>
                      <a:pt x="1265" y="80"/>
                    </a:lnTo>
                    <a:cubicBezTo>
                      <a:pt x="1265" y="80"/>
                      <a:pt x="1265" y="76"/>
                      <a:pt x="1265" y="74"/>
                    </a:cubicBezTo>
                    <a:moveTo>
                      <a:pt x="1188" y="114"/>
                    </a:moveTo>
                    <a:lnTo>
                      <a:pt x="1188" y="95"/>
                    </a:lnTo>
                    <a:lnTo>
                      <a:pt x="1145" y="95"/>
                    </a:lnTo>
                    <a:lnTo>
                      <a:pt x="1145" y="11"/>
                    </a:lnTo>
                    <a:lnTo>
                      <a:pt x="1124" y="11"/>
                    </a:lnTo>
                    <a:lnTo>
                      <a:pt x="1124" y="114"/>
                    </a:lnTo>
                    <a:lnTo>
                      <a:pt x="1188" y="114"/>
                    </a:lnTo>
                    <a:close/>
                    <a:moveTo>
                      <a:pt x="1073" y="104"/>
                    </a:moveTo>
                    <a:cubicBezTo>
                      <a:pt x="1073" y="98"/>
                      <a:pt x="1069" y="92"/>
                      <a:pt x="1061" y="92"/>
                    </a:cubicBezTo>
                    <a:cubicBezTo>
                      <a:pt x="1053" y="92"/>
                      <a:pt x="1048" y="98"/>
                      <a:pt x="1048" y="104"/>
                    </a:cubicBezTo>
                    <a:cubicBezTo>
                      <a:pt x="1048" y="110"/>
                      <a:pt x="1053" y="116"/>
                      <a:pt x="1061" y="116"/>
                    </a:cubicBezTo>
                    <a:cubicBezTo>
                      <a:pt x="1069" y="116"/>
                      <a:pt x="1073" y="110"/>
                      <a:pt x="1073" y="104"/>
                    </a:cubicBezTo>
                    <a:close/>
                    <a:moveTo>
                      <a:pt x="1053" y="38"/>
                    </a:moveTo>
                    <a:cubicBezTo>
                      <a:pt x="1053" y="38"/>
                      <a:pt x="1052" y="37"/>
                      <a:pt x="1044" y="37"/>
                    </a:cubicBezTo>
                    <a:cubicBezTo>
                      <a:pt x="1038" y="37"/>
                      <a:pt x="1032" y="42"/>
                      <a:pt x="1029" y="45"/>
                    </a:cubicBezTo>
                    <a:cubicBezTo>
                      <a:pt x="1029" y="46"/>
                      <a:pt x="1028" y="47"/>
                      <a:pt x="1028" y="47"/>
                    </a:cubicBezTo>
                    <a:cubicBezTo>
                      <a:pt x="1028" y="43"/>
                      <a:pt x="1027" y="38"/>
                      <a:pt x="1027" y="38"/>
                    </a:cubicBezTo>
                    <a:lnTo>
                      <a:pt x="1007" y="38"/>
                    </a:lnTo>
                    <a:cubicBezTo>
                      <a:pt x="1007" y="38"/>
                      <a:pt x="1008" y="47"/>
                      <a:pt x="1008" y="56"/>
                    </a:cubicBezTo>
                    <a:lnTo>
                      <a:pt x="1008" y="114"/>
                    </a:lnTo>
                    <a:lnTo>
                      <a:pt x="1029" y="114"/>
                    </a:lnTo>
                    <a:lnTo>
                      <a:pt x="1029" y="60"/>
                    </a:lnTo>
                    <a:cubicBezTo>
                      <a:pt x="1034" y="56"/>
                      <a:pt x="1039" y="53"/>
                      <a:pt x="1041" y="53"/>
                    </a:cubicBezTo>
                    <a:cubicBezTo>
                      <a:pt x="1047" y="53"/>
                      <a:pt x="1051" y="54"/>
                      <a:pt x="1051" y="54"/>
                    </a:cubicBezTo>
                    <a:lnTo>
                      <a:pt x="1053" y="38"/>
                    </a:lnTo>
                    <a:close/>
                    <a:moveTo>
                      <a:pt x="970" y="68"/>
                    </a:moveTo>
                    <a:lnTo>
                      <a:pt x="946" y="68"/>
                    </a:lnTo>
                    <a:cubicBezTo>
                      <a:pt x="946" y="62"/>
                      <a:pt x="948" y="51"/>
                      <a:pt x="958" y="51"/>
                    </a:cubicBezTo>
                    <a:cubicBezTo>
                      <a:pt x="968" y="51"/>
                      <a:pt x="970" y="62"/>
                      <a:pt x="970" y="68"/>
                    </a:cubicBezTo>
                    <a:close/>
                    <a:moveTo>
                      <a:pt x="990" y="74"/>
                    </a:moveTo>
                    <a:cubicBezTo>
                      <a:pt x="990" y="56"/>
                      <a:pt x="983" y="36"/>
                      <a:pt x="958" y="36"/>
                    </a:cubicBezTo>
                    <a:cubicBezTo>
                      <a:pt x="935" y="36"/>
                      <a:pt x="925" y="56"/>
                      <a:pt x="925" y="76"/>
                    </a:cubicBezTo>
                    <a:cubicBezTo>
                      <a:pt x="925" y="90"/>
                      <a:pt x="929" y="115"/>
                      <a:pt x="956" y="115"/>
                    </a:cubicBezTo>
                    <a:cubicBezTo>
                      <a:pt x="977" y="115"/>
                      <a:pt x="989" y="108"/>
                      <a:pt x="989" y="108"/>
                    </a:cubicBezTo>
                    <a:lnTo>
                      <a:pt x="988" y="92"/>
                    </a:lnTo>
                    <a:cubicBezTo>
                      <a:pt x="988" y="92"/>
                      <a:pt x="974" y="100"/>
                      <a:pt x="960" y="100"/>
                    </a:cubicBezTo>
                    <a:cubicBezTo>
                      <a:pt x="951" y="100"/>
                      <a:pt x="946" y="94"/>
                      <a:pt x="946" y="80"/>
                    </a:cubicBezTo>
                    <a:lnTo>
                      <a:pt x="990" y="80"/>
                    </a:lnTo>
                    <a:cubicBezTo>
                      <a:pt x="990" y="80"/>
                      <a:pt x="990" y="76"/>
                      <a:pt x="990" y="74"/>
                    </a:cubicBezTo>
                    <a:moveTo>
                      <a:pt x="911" y="91"/>
                    </a:moveTo>
                    <a:cubicBezTo>
                      <a:pt x="911" y="73"/>
                      <a:pt x="894" y="70"/>
                      <a:pt x="882" y="64"/>
                    </a:cubicBezTo>
                    <a:cubicBezTo>
                      <a:pt x="879" y="63"/>
                      <a:pt x="876" y="61"/>
                      <a:pt x="876" y="58"/>
                    </a:cubicBezTo>
                    <a:cubicBezTo>
                      <a:pt x="876" y="56"/>
                      <a:pt x="878" y="52"/>
                      <a:pt x="884" y="52"/>
                    </a:cubicBezTo>
                    <a:cubicBezTo>
                      <a:pt x="894" y="52"/>
                      <a:pt x="906" y="57"/>
                      <a:pt x="906" y="57"/>
                    </a:cubicBezTo>
                    <a:lnTo>
                      <a:pt x="907" y="40"/>
                    </a:lnTo>
                    <a:cubicBezTo>
                      <a:pt x="907" y="40"/>
                      <a:pt x="897" y="36"/>
                      <a:pt x="885" y="36"/>
                    </a:cubicBezTo>
                    <a:cubicBezTo>
                      <a:pt x="870" y="36"/>
                      <a:pt x="857" y="44"/>
                      <a:pt x="857" y="60"/>
                    </a:cubicBezTo>
                    <a:cubicBezTo>
                      <a:pt x="857" y="77"/>
                      <a:pt x="874" y="80"/>
                      <a:pt x="885" y="85"/>
                    </a:cubicBezTo>
                    <a:cubicBezTo>
                      <a:pt x="889" y="87"/>
                      <a:pt x="892" y="89"/>
                      <a:pt x="892" y="92"/>
                    </a:cubicBezTo>
                    <a:cubicBezTo>
                      <a:pt x="892" y="96"/>
                      <a:pt x="888" y="99"/>
                      <a:pt x="883" y="99"/>
                    </a:cubicBezTo>
                    <a:cubicBezTo>
                      <a:pt x="872" y="99"/>
                      <a:pt x="857" y="91"/>
                      <a:pt x="857" y="91"/>
                    </a:cubicBezTo>
                    <a:lnTo>
                      <a:pt x="856" y="110"/>
                    </a:lnTo>
                    <a:cubicBezTo>
                      <a:pt x="856" y="110"/>
                      <a:pt x="869" y="116"/>
                      <a:pt x="883" y="116"/>
                    </a:cubicBezTo>
                    <a:cubicBezTo>
                      <a:pt x="898" y="116"/>
                      <a:pt x="911" y="108"/>
                      <a:pt x="911" y="91"/>
                    </a:cubicBezTo>
                    <a:close/>
                    <a:moveTo>
                      <a:pt x="843" y="91"/>
                    </a:moveTo>
                    <a:cubicBezTo>
                      <a:pt x="843" y="73"/>
                      <a:pt x="826" y="70"/>
                      <a:pt x="813" y="64"/>
                    </a:cubicBezTo>
                    <a:cubicBezTo>
                      <a:pt x="810" y="63"/>
                      <a:pt x="807" y="61"/>
                      <a:pt x="807" y="58"/>
                    </a:cubicBezTo>
                    <a:cubicBezTo>
                      <a:pt x="807" y="56"/>
                      <a:pt x="809" y="52"/>
                      <a:pt x="815" y="52"/>
                    </a:cubicBezTo>
                    <a:cubicBezTo>
                      <a:pt x="825" y="52"/>
                      <a:pt x="837" y="57"/>
                      <a:pt x="837" y="57"/>
                    </a:cubicBezTo>
                    <a:lnTo>
                      <a:pt x="838" y="40"/>
                    </a:lnTo>
                    <a:cubicBezTo>
                      <a:pt x="838" y="40"/>
                      <a:pt x="828" y="36"/>
                      <a:pt x="816" y="36"/>
                    </a:cubicBezTo>
                    <a:cubicBezTo>
                      <a:pt x="801" y="36"/>
                      <a:pt x="788" y="44"/>
                      <a:pt x="788" y="60"/>
                    </a:cubicBezTo>
                    <a:cubicBezTo>
                      <a:pt x="788" y="77"/>
                      <a:pt x="805" y="80"/>
                      <a:pt x="817" y="85"/>
                    </a:cubicBezTo>
                    <a:cubicBezTo>
                      <a:pt x="820" y="87"/>
                      <a:pt x="823" y="89"/>
                      <a:pt x="823" y="92"/>
                    </a:cubicBezTo>
                    <a:cubicBezTo>
                      <a:pt x="823" y="96"/>
                      <a:pt x="819" y="99"/>
                      <a:pt x="815" y="99"/>
                    </a:cubicBezTo>
                    <a:cubicBezTo>
                      <a:pt x="803" y="99"/>
                      <a:pt x="788" y="91"/>
                      <a:pt x="788" y="91"/>
                    </a:cubicBezTo>
                    <a:lnTo>
                      <a:pt x="787" y="110"/>
                    </a:lnTo>
                    <a:cubicBezTo>
                      <a:pt x="787" y="110"/>
                      <a:pt x="800" y="116"/>
                      <a:pt x="814" y="116"/>
                    </a:cubicBezTo>
                    <a:cubicBezTo>
                      <a:pt x="829" y="116"/>
                      <a:pt x="843" y="108"/>
                      <a:pt x="843" y="91"/>
                    </a:cubicBezTo>
                    <a:close/>
                    <a:moveTo>
                      <a:pt x="749" y="94"/>
                    </a:moveTo>
                    <a:cubicBezTo>
                      <a:pt x="747" y="96"/>
                      <a:pt x="742" y="100"/>
                      <a:pt x="736" y="100"/>
                    </a:cubicBezTo>
                    <a:cubicBezTo>
                      <a:pt x="731" y="100"/>
                      <a:pt x="729" y="95"/>
                      <a:pt x="729" y="91"/>
                    </a:cubicBezTo>
                    <a:cubicBezTo>
                      <a:pt x="729" y="89"/>
                      <a:pt x="730" y="87"/>
                      <a:pt x="732" y="85"/>
                    </a:cubicBezTo>
                    <a:cubicBezTo>
                      <a:pt x="736" y="81"/>
                      <a:pt x="746" y="80"/>
                      <a:pt x="749" y="80"/>
                    </a:cubicBezTo>
                    <a:lnTo>
                      <a:pt x="749" y="94"/>
                    </a:lnTo>
                    <a:close/>
                    <a:moveTo>
                      <a:pt x="771" y="114"/>
                    </a:moveTo>
                    <a:cubicBezTo>
                      <a:pt x="771" y="114"/>
                      <a:pt x="770" y="107"/>
                      <a:pt x="770" y="98"/>
                    </a:cubicBezTo>
                    <a:lnTo>
                      <a:pt x="770" y="62"/>
                    </a:lnTo>
                    <a:cubicBezTo>
                      <a:pt x="770" y="54"/>
                      <a:pt x="769" y="48"/>
                      <a:pt x="765" y="43"/>
                    </a:cubicBezTo>
                    <a:cubicBezTo>
                      <a:pt x="761" y="39"/>
                      <a:pt x="755" y="36"/>
                      <a:pt x="745" y="36"/>
                    </a:cubicBezTo>
                    <a:cubicBezTo>
                      <a:pt x="729" y="36"/>
                      <a:pt x="714" y="43"/>
                      <a:pt x="714" y="43"/>
                    </a:cubicBezTo>
                    <a:lnTo>
                      <a:pt x="715" y="59"/>
                    </a:lnTo>
                    <a:cubicBezTo>
                      <a:pt x="720" y="56"/>
                      <a:pt x="731" y="52"/>
                      <a:pt x="741" y="52"/>
                    </a:cubicBezTo>
                    <a:cubicBezTo>
                      <a:pt x="747" y="52"/>
                      <a:pt x="749" y="55"/>
                      <a:pt x="749" y="61"/>
                    </a:cubicBezTo>
                    <a:lnTo>
                      <a:pt x="749" y="69"/>
                    </a:lnTo>
                    <a:cubicBezTo>
                      <a:pt x="740" y="69"/>
                      <a:pt x="725" y="70"/>
                      <a:pt x="716" y="77"/>
                    </a:cubicBezTo>
                    <a:cubicBezTo>
                      <a:pt x="711" y="81"/>
                      <a:pt x="709" y="85"/>
                      <a:pt x="709" y="92"/>
                    </a:cubicBezTo>
                    <a:cubicBezTo>
                      <a:pt x="709" y="102"/>
                      <a:pt x="714" y="115"/>
                      <a:pt x="730" y="115"/>
                    </a:cubicBezTo>
                    <a:cubicBezTo>
                      <a:pt x="741" y="115"/>
                      <a:pt x="751" y="107"/>
                      <a:pt x="751" y="107"/>
                    </a:cubicBezTo>
                    <a:cubicBezTo>
                      <a:pt x="751" y="110"/>
                      <a:pt x="751" y="114"/>
                      <a:pt x="751" y="114"/>
                    </a:cubicBezTo>
                    <a:lnTo>
                      <a:pt x="771" y="114"/>
                    </a:lnTo>
                    <a:close/>
                    <a:moveTo>
                      <a:pt x="701" y="12"/>
                    </a:moveTo>
                    <a:lnTo>
                      <a:pt x="679" y="11"/>
                    </a:lnTo>
                    <a:lnTo>
                      <a:pt x="667" y="61"/>
                    </a:lnTo>
                    <a:cubicBezTo>
                      <a:pt x="665" y="68"/>
                      <a:pt x="663" y="83"/>
                      <a:pt x="662" y="86"/>
                    </a:cubicBezTo>
                    <a:cubicBezTo>
                      <a:pt x="662" y="83"/>
                      <a:pt x="659" y="68"/>
                      <a:pt x="658" y="61"/>
                    </a:cubicBezTo>
                    <a:lnTo>
                      <a:pt x="646" y="11"/>
                    </a:lnTo>
                    <a:lnTo>
                      <a:pt x="624" y="11"/>
                    </a:lnTo>
                    <a:lnTo>
                      <a:pt x="613" y="61"/>
                    </a:lnTo>
                    <a:cubicBezTo>
                      <a:pt x="611" y="68"/>
                      <a:pt x="609" y="82"/>
                      <a:pt x="608" y="85"/>
                    </a:cubicBezTo>
                    <a:cubicBezTo>
                      <a:pt x="608" y="82"/>
                      <a:pt x="605" y="68"/>
                      <a:pt x="604" y="61"/>
                    </a:cubicBezTo>
                    <a:lnTo>
                      <a:pt x="592" y="10"/>
                    </a:lnTo>
                    <a:lnTo>
                      <a:pt x="570" y="11"/>
                    </a:lnTo>
                    <a:lnTo>
                      <a:pt x="597" y="114"/>
                    </a:lnTo>
                    <a:lnTo>
                      <a:pt x="619" y="114"/>
                    </a:lnTo>
                    <a:lnTo>
                      <a:pt x="630" y="67"/>
                    </a:lnTo>
                    <a:cubicBezTo>
                      <a:pt x="631" y="59"/>
                      <a:pt x="635" y="40"/>
                      <a:pt x="635" y="40"/>
                    </a:cubicBezTo>
                    <a:cubicBezTo>
                      <a:pt x="635" y="40"/>
                      <a:pt x="638" y="59"/>
                      <a:pt x="640" y="67"/>
                    </a:cubicBezTo>
                    <a:lnTo>
                      <a:pt x="650" y="114"/>
                    </a:lnTo>
                    <a:lnTo>
                      <a:pt x="673" y="114"/>
                    </a:lnTo>
                    <a:lnTo>
                      <a:pt x="701" y="12"/>
                    </a:lnTo>
                    <a:close/>
                    <a:moveTo>
                      <a:pt x="537" y="104"/>
                    </a:moveTo>
                    <a:cubicBezTo>
                      <a:pt x="537" y="98"/>
                      <a:pt x="533" y="92"/>
                      <a:pt x="525" y="92"/>
                    </a:cubicBezTo>
                    <a:cubicBezTo>
                      <a:pt x="516" y="92"/>
                      <a:pt x="512" y="98"/>
                      <a:pt x="512" y="104"/>
                    </a:cubicBezTo>
                    <a:cubicBezTo>
                      <a:pt x="512" y="110"/>
                      <a:pt x="516" y="116"/>
                      <a:pt x="525" y="116"/>
                    </a:cubicBezTo>
                    <a:cubicBezTo>
                      <a:pt x="533" y="116"/>
                      <a:pt x="537" y="110"/>
                      <a:pt x="537" y="104"/>
                    </a:cubicBezTo>
                    <a:close/>
                    <a:moveTo>
                      <a:pt x="476" y="68"/>
                    </a:moveTo>
                    <a:lnTo>
                      <a:pt x="452" y="68"/>
                    </a:lnTo>
                    <a:cubicBezTo>
                      <a:pt x="452" y="62"/>
                      <a:pt x="454" y="51"/>
                      <a:pt x="464" y="51"/>
                    </a:cubicBezTo>
                    <a:cubicBezTo>
                      <a:pt x="474" y="51"/>
                      <a:pt x="476" y="62"/>
                      <a:pt x="476" y="68"/>
                    </a:cubicBezTo>
                    <a:moveTo>
                      <a:pt x="496" y="74"/>
                    </a:moveTo>
                    <a:cubicBezTo>
                      <a:pt x="496" y="56"/>
                      <a:pt x="489" y="36"/>
                      <a:pt x="464" y="36"/>
                    </a:cubicBezTo>
                    <a:cubicBezTo>
                      <a:pt x="441" y="36"/>
                      <a:pt x="431" y="56"/>
                      <a:pt x="431" y="76"/>
                    </a:cubicBezTo>
                    <a:cubicBezTo>
                      <a:pt x="431" y="90"/>
                      <a:pt x="435" y="115"/>
                      <a:pt x="462" y="115"/>
                    </a:cubicBezTo>
                    <a:cubicBezTo>
                      <a:pt x="483" y="115"/>
                      <a:pt x="495" y="108"/>
                      <a:pt x="495" y="108"/>
                    </a:cubicBezTo>
                    <a:lnTo>
                      <a:pt x="494" y="92"/>
                    </a:lnTo>
                    <a:cubicBezTo>
                      <a:pt x="494" y="92"/>
                      <a:pt x="480" y="100"/>
                      <a:pt x="466" y="100"/>
                    </a:cubicBezTo>
                    <a:cubicBezTo>
                      <a:pt x="457" y="100"/>
                      <a:pt x="452" y="94"/>
                      <a:pt x="452" y="80"/>
                    </a:cubicBezTo>
                    <a:lnTo>
                      <a:pt x="496" y="80"/>
                    </a:lnTo>
                    <a:cubicBezTo>
                      <a:pt x="496" y="80"/>
                      <a:pt x="496" y="76"/>
                      <a:pt x="496" y="74"/>
                    </a:cubicBezTo>
                    <a:moveTo>
                      <a:pt x="413" y="114"/>
                    </a:moveTo>
                    <a:lnTo>
                      <a:pt x="413" y="54"/>
                    </a:lnTo>
                    <a:cubicBezTo>
                      <a:pt x="413" y="48"/>
                      <a:pt x="412" y="38"/>
                      <a:pt x="412" y="38"/>
                    </a:cubicBezTo>
                    <a:lnTo>
                      <a:pt x="393" y="38"/>
                    </a:lnTo>
                    <a:lnTo>
                      <a:pt x="393" y="114"/>
                    </a:lnTo>
                    <a:lnTo>
                      <a:pt x="413" y="114"/>
                    </a:lnTo>
                    <a:close/>
                    <a:moveTo>
                      <a:pt x="416" y="12"/>
                    </a:moveTo>
                    <a:cubicBezTo>
                      <a:pt x="416" y="6"/>
                      <a:pt x="411" y="0"/>
                      <a:pt x="403" y="0"/>
                    </a:cubicBezTo>
                    <a:cubicBezTo>
                      <a:pt x="395" y="0"/>
                      <a:pt x="391" y="6"/>
                      <a:pt x="391" y="12"/>
                    </a:cubicBezTo>
                    <a:cubicBezTo>
                      <a:pt x="391" y="18"/>
                      <a:pt x="395" y="24"/>
                      <a:pt x="403" y="24"/>
                    </a:cubicBezTo>
                    <a:cubicBezTo>
                      <a:pt x="411" y="24"/>
                      <a:pt x="416" y="18"/>
                      <a:pt x="416" y="12"/>
                    </a:cubicBezTo>
                    <a:close/>
                    <a:moveTo>
                      <a:pt x="353" y="88"/>
                    </a:moveTo>
                    <a:cubicBezTo>
                      <a:pt x="347" y="95"/>
                      <a:pt x="341" y="97"/>
                      <a:pt x="337" y="97"/>
                    </a:cubicBezTo>
                    <a:cubicBezTo>
                      <a:pt x="328" y="97"/>
                      <a:pt x="326" y="83"/>
                      <a:pt x="326" y="75"/>
                    </a:cubicBezTo>
                    <a:cubicBezTo>
                      <a:pt x="326" y="66"/>
                      <a:pt x="327" y="53"/>
                      <a:pt x="339" y="53"/>
                    </a:cubicBezTo>
                    <a:cubicBezTo>
                      <a:pt x="343" y="53"/>
                      <a:pt x="347" y="54"/>
                      <a:pt x="353" y="57"/>
                    </a:cubicBezTo>
                    <a:lnTo>
                      <a:pt x="353" y="88"/>
                    </a:lnTo>
                    <a:close/>
                    <a:moveTo>
                      <a:pt x="375" y="38"/>
                    </a:moveTo>
                    <a:lnTo>
                      <a:pt x="355" y="38"/>
                    </a:lnTo>
                    <a:cubicBezTo>
                      <a:pt x="355" y="38"/>
                      <a:pt x="354" y="40"/>
                      <a:pt x="354" y="42"/>
                    </a:cubicBezTo>
                    <a:cubicBezTo>
                      <a:pt x="352" y="41"/>
                      <a:pt x="345" y="36"/>
                      <a:pt x="336" y="36"/>
                    </a:cubicBezTo>
                    <a:cubicBezTo>
                      <a:pt x="315" y="36"/>
                      <a:pt x="305" y="53"/>
                      <a:pt x="305" y="75"/>
                    </a:cubicBezTo>
                    <a:cubicBezTo>
                      <a:pt x="305" y="90"/>
                      <a:pt x="310" y="114"/>
                      <a:pt x="332" y="114"/>
                    </a:cubicBezTo>
                    <a:cubicBezTo>
                      <a:pt x="344" y="114"/>
                      <a:pt x="352" y="105"/>
                      <a:pt x="353" y="103"/>
                    </a:cubicBezTo>
                    <a:cubicBezTo>
                      <a:pt x="353" y="103"/>
                      <a:pt x="353" y="108"/>
                      <a:pt x="353" y="110"/>
                    </a:cubicBezTo>
                    <a:lnTo>
                      <a:pt x="353" y="115"/>
                    </a:lnTo>
                    <a:cubicBezTo>
                      <a:pt x="353" y="117"/>
                      <a:pt x="353" y="119"/>
                      <a:pt x="352" y="121"/>
                    </a:cubicBezTo>
                    <a:cubicBezTo>
                      <a:pt x="351" y="125"/>
                      <a:pt x="347" y="128"/>
                      <a:pt x="338" y="128"/>
                    </a:cubicBezTo>
                    <a:cubicBezTo>
                      <a:pt x="323" y="128"/>
                      <a:pt x="310" y="122"/>
                      <a:pt x="310" y="122"/>
                    </a:cubicBezTo>
                    <a:lnTo>
                      <a:pt x="309" y="140"/>
                    </a:lnTo>
                    <a:cubicBezTo>
                      <a:pt x="309" y="140"/>
                      <a:pt x="320" y="146"/>
                      <a:pt x="338" y="146"/>
                    </a:cubicBezTo>
                    <a:cubicBezTo>
                      <a:pt x="357" y="146"/>
                      <a:pt x="369" y="139"/>
                      <a:pt x="373" y="125"/>
                    </a:cubicBezTo>
                    <a:cubicBezTo>
                      <a:pt x="373" y="122"/>
                      <a:pt x="373" y="116"/>
                      <a:pt x="373" y="112"/>
                    </a:cubicBezTo>
                    <a:lnTo>
                      <a:pt x="373" y="56"/>
                    </a:lnTo>
                    <a:cubicBezTo>
                      <a:pt x="373" y="47"/>
                      <a:pt x="375" y="38"/>
                      <a:pt x="375" y="38"/>
                    </a:cubicBezTo>
                    <a:moveTo>
                      <a:pt x="294" y="38"/>
                    </a:moveTo>
                    <a:cubicBezTo>
                      <a:pt x="294" y="38"/>
                      <a:pt x="293" y="37"/>
                      <a:pt x="285" y="37"/>
                    </a:cubicBezTo>
                    <a:cubicBezTo>
                      <a:pt x="279" y="37"/>
                      <a:pt x="273" y="42"/>
                      <a:pt x="270" y="45"/>
                    </a:cubicBezTo>
                    <a:cubicBezTo>
                      <a:pt x="270" y="46"/>
                      <a:pt x="269" y="47"/>
                      <a:pt x="269" y="47"/>
                    </a:cubicBezTo>
                    <a:cubicBezTo>
                      <a:pt x="269" y="43"/>
                      <a:pt x="268" y="38"/>
                      <a:pt x="268" y="38"/>
                    </a:cubicBezTo>
                    <a:lnTo>
                      <a:pt x="248" y="38"/>
                    </a:lnTo>
                    <a:cubicBezTo>
                      <a:pt x="248" y="38"/>
                      <a:pt x="249" y="47"/>
                      <a:pt x="249" y="56"/>
                    </a:cubicBezTo>
                    <a:lnTo>
                      <a:pt x="249" y="114"/>
                    </a:lnTo>
                    <a:lnTo>
                      <a:pt x="270" y="114"/>
                    </a:lnTo>
                    <a:lnTo>
                      <a:pt x="270" y="60"/>
                    </a:lnTo>
                    <a:cubicBezTo>
                      <a:pt x="275" y="56"/>
                      <a:pt x="279" y="53"/>
                      <a:pt x="282" y="53"/>
                    </a:cubicBezTo>
                    <a:cubicBezTo>
                      <a:pt x="288" y="53"/>
                      <a:pt x="292" y="54"/>
                      <a:pt x="292" y="54"/>
                    </a:cubicBezTo>
                    <a:lnTo>
                      <a:pt x="294" y="38"/>
                    </a:lnTo>
                    <a:close/>
                    <a:moveTo>
                      <a:pt x="211" y="68"/>
                    </a:moveTo>
                    <a:lnTo>
                      <a:pt x="187" y="68"/>
                    </a:lnTo>
                    <a:cubicBezTo>
                      <a:pt x="187" y="62"/>
                      <a:pt x="189" y="51"/>
                      <a:pt x="198" y="51"/>
                    </a:cubicBezTo>
                    <a:cubicBezTo>
                      <a:pt x="209" y="51"/>
                      <a:pt x="211" y="62"/>
                      <a:pt x="211" y="68"/>
                    </a:cubicBezTo>
                    <a:moveTo>
                      <a:pt x="231" y="74"/>
                    </a:moveTo>
                    <a:cubicBezTo>
                      <a:pt x="231" y="56"/>
                      <a:pt x="224" y="36"/>
                      <a:pt x="198" y="36"/>
                    </a:cubicBezTo>
                    <a:cubicBezTo>
                      <a:pt x="176" y="36"/>
                      <a:pt x="165" y="56"/>
                      <a:pt x="165" y="76"/>
                    </a:cubicBezTo>
                    <a:cubicBezTo>
                      <a:pt x="165" y="90"/>
                      <a:pt x="170" y="115"/>
                      <a:pt x="197" y="115"/>
                    </a:cubicBezTo>
                    <a:cubicBezTo>
                      <a:pt x="218" y="115"/>
                      <a:pt x="230" y="108"/>
                      <a:pt x="230" y="108"/>
                    </a:cubicBezTo>
                    <a:lnTo>
                      <a:pt x="229" y="92"/>
                    </a:lnTo>
                    <a:cubicBezTo>
                      <a:pt x="229" y="92"/>
                      <a:pt x="214" y="100"/>
                      <a:pt x="200" y="100"/>
                    </a:cubicBezTo>
                    <a:cubicBezTo>
                      <a:pt x="191" y="100"/>
                      <a:pt x="187" y="94"/>
                      <a:pt x="187" y="80"/>
                    </a:cubicBezTo>
                    <a:lnTo>
                      <a:pt x="231" y="80"/>
                    </a:lnTo>
                    <a:cubicBezTo>
                      <a:pt x="231" y="80"/>
                      <a:pt x="231" y="76"/>
                      <a:pt x="231" y="74"/>
                    </a:cubicBezTo>
                    <a:moveTo>
                      <a:pt x="148" y="114"/>
                    </a:moveTo>
                    <a:lnTo>
                      <a:pt x="148" y="62"/>
                    </a:lnTo>
                    <a:cubicBezTo>
                      <a:pt x="148" y="55"/>
                      <a:pt x="147" y="49"/>
                      <a:pt x="144" y="45"/>
                    </a:cubicBezTo>
                    <a:cubicBezTo>
                      <a:pt x="141" y="39"/>
                      <a:pt x="135" y="36"/>
                      <a:pt x="126" y="36"/>
                    </a:cubicBezTo>
                    <a:cubicBezTo>
                      <a:pt x="115" y="36"/>
                      <a:pt x="104" y="45"/>
                      <a:pt x="101" y="48"/>
                    </a:cubicBezTo>
                    <a:cubicBezTo>
                      <a:pt x="101" y="43"/>
                      <a:pt x="101" y="38"/>
                      <a:pt x="101" y="38"/>
                    </a:cubicBezTo>
                    <a:lnTo>
                      <a:pt x="81" y="38"/>
                    </a:lnTo>
                    <a:cubicBezTo>
                      <a:pt x="81" y="38"/>
                      <a:pt x="82" y="47"/>
                      <a:pt x="82" y="56"/>
                    </a:cubicBezTo>
                    <a:lnTo>
                      <a:pt x="82" y="114"/>
                    </a:lnTo>
                    <a:lnTo>
                      <a:pt x="102" y="114"/>
                    </a:lnTo>
                    <a:lnTo>
                      <a:pt x="102" y="62"/>
                    </a:lnTo>
                    <a:cubicBezTo>
                      <a:pt x="105" y="59"/>
                      <a:pt x="112" y="54"/>
                      <a:pt x="119" y="54"/>
                    </a:cubicBezTo>
                    <a:cubicBezTo>
                      <a:pt x="124" y="54"/>
                      <a:pt x="128" y="55"/>
                      <a:pt x="128" y="64"/>
                    </a:cubicBezTo>
                    <a:lnTo>
                      <a:pt x="128" y="114"/>
                    </a:lnTo>
                    <a:lnTo>
                      <a:pt x="148" y="114"/>
                    </a:lnTo>
                    <a:close/>
                    <a:moveTo>
                      <a:pt x="66" y="114"/>
                    </a:moveTo>
                    <a:lnTo>
                      <a:pt x="66" y="96"/>
                    </a:lnTo>
                    <a:lnTo>
                      <a:pt x="21" y="96"/>
                    </a:lnTo>
                    <a:lnTo>
                      <a:pt x="21" y="69"/>
                    </a:lnTo>
                    <a:lnTo>
                      <a:pt x="57" y="69"/>
                    </a:lnTo>
                    <a:lnTo>
                      <a:pt x="57" y="52"/>
                    </a:lnTo>
                    <a:lnTo>
                      <a:pt x="21" y="52"/>
                    </a:lnTo>
                    <a:lnTo>
                      <a:pt x="21" y="29"/>
                    </a:lnTo>
                    <a:lnTo>
                      <a:pt x="62" y="29"/>
                    </a:lnTo>
                    <a:lnTo>
                      <a:pt x="64" y="11"/>
                    </a:lnTo>
                    <a:lnTo>
                      <a:pt x="0" y="11"/>
                    </a:lnTo>
                    <a:lnTo>
                      <a:pt x="0" y="114"/>
                    </a:lnTo>
                    <a:lnTo>
                      <a:pt x="66" y="114"/>
                    </a:lnTo>
                    <a:close/>
                  </a:path>
                </a:pathLst>
              </a:custGeom>
              <a:solidFill>
                <a:srgbClr val="57687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noProof="0" dirty="0"/>
              </a:p>
            </p:txBody>
          </p:sp>
          <p:sp>
            <p:nvSpPr>
              <p:cNvPr id="244" name="Freeform 39">
                <a:extLst>
                  <a:ext uri="{FF2B5EF4-FFF2-40B4-BE49-F238E27FC236}">
                    <a16:creationId xmlns:a16="http://schemas.microsoft.com/office/drawing/2014/main" id="{5F598DA8-679A-4759-BA95-A9F969FF5E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29374" y="990263"/>
                <a:ext cx="354012" cy="273050"/>
              </a:xfrm>
              <a:custGeom>
                <a:avLst/>
                <a:gdLst>
                  <a:gd name="T0" fmla="*/ 0 w 443"/>
                  <a:gd name="T1" fmla="*/ 0 h 341"/>
                  <a:gd name="T2" fmla="*/ 0 w 443"/>
                  <a:gd name="T3" fmla="*/ 217 h 341"/>
                  <a:gd name="T4" fmla="*/ 131 w 443"/>
                  <a:gd name="T5" fmla="*/ 341 h 341"/>
                  <a:gd name="T6" fmla="*/ 222 w 443"/>
                  <a:gd name="T7" fmla="*/ 300 h 341"/>
                  <a:gd name="T8" fmla="*/ 313 w 443"/>
                  <a:gd name="T9" fmla="*/ 341 h 341"/>
                  <a:gd name="T10" fmla="*/ 443 w 443"/>
                  <a:gd name="T11" fmla="*/ 217 h 341"/>
                  <a:gd name="T12" fmla="*/ 443 w 443"/>
                  <a:gd name="T13" fmla="*/ 0 h 341"/>
                  <a:gd name="T14" fmla="*/ 365 w 443"/>
                  <a:gd name="T15" fmla="*/ 0 h 341"/>
                  <a:gd name="T16" fmla="*/ 365 w 443"/>
                  <a:gd name="T17" fmla="*/ 219 h 341"/>
                  <a:gd name="T18" fmla="*/ 313 w 443"/>
                  <a:gd name="T19" fmla="*/ 268 h 341"/>
                  <a:gd name="T20" fmla="*/ 261 w 443"/>
                  <a:gd name="T21" fmla="*/ 219 h 341"/>
                  <a:gd name="T22" fmla="*/ 261 w 443"/>
                  <a:gd name="T23" fmla="*/ 0 h 341"/>
                  <a:gd name="T24" fmla="*/ 183 w 443"/>
                  <a:gd name="T25" fmla="*/ 0 h 341"/>
                  <a:gd name="T26" fmla="*/ 183 w 443"/>
                  <a:gd name="T27" fmla="*/ 219 h 341"/>
                  <a:gd name="T28" fmla="*/ 131 w 443"/>
                  <a:gd name="T29" fmla="*/ 268 h 341"/>
                  <a:gd name="T30" fmla="*/ 79 w 443"/>
                  <a:gd name="T31" fmla="*/ 219 h 341"/>
                  <a:gd name="T32" fmla="*/ 79 w 443"/>
                  <a:gd name="T33" fmla="*/ 0 h 341"/>
                  <a:gd name="T34" fmla="*/ 0 w 443"/>
                  <a:gd name="T35" fmla="*/ 0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3" h="341">
                    <a:moveTo>
                      <a:pt x="0" y="0"/>
                    </a:moveTo>
                    <a:lnTo>
                      <a:pt x="0" y="217"/>
                    </a:lnTo>
                    <a:cubicBezTo>
                      <a:pt x="0" y="285"/>
                      <a:pt x="59" y="341"/>
                      <a:pt x="131" y="341"/>
                    </a:cubicBezTo>
                    <a:cubicBezTo>
                      <a:pt x="165" y="341"/>
                      <a:pt x="205" y="322"/>
                      <a:pt x="222" y="300"/>
                    </a:cubicBezTo>
                    <a:cubicBezTo>
                      <a:pt x="239" y="322"/>
                      <a:pt x="279" y="341"/>
                      <a:pt x="313" y="341"/>
                    </a:cubicBezTo>
                    <a:cubicBezTo>
                      <a:pt x="385" y="341"/>
                      <a:pt x="443" y="285"/>
                      <a:pt x="443" y="217"/>
                    </a:cubicBezTo>
                    <a:lnTo>
                      <a:pt x="443" y="0"/>
                    </a:lnTo>
                    <a:lnTo>
                      <a:pt x="365" y="0"/>
                    </a:lnTo>
                    <a:lnTo>
                      <a:pt x="365" y="219"/>
                    </a:lnTo>
                    <a:cubicBezTo>
                      <a:pt x="365" y="246"/>
                      <a:pt x="342" y="268"/>
                      <a:pt x="313" y="268"/>
                    </a:cubicBezTo>
                    <a:cubicBezTo>
                      <a:pt x="285" y="268"/>
                      <a:pt x="261" y="246"/>
                      <a:pt x="261" y="219"/>
                    </a:cubicBezTo>
                    <a:lnTo>
                      <a:pt x="261" y="0"/>
                    </a:lnTo>
                    <a:lnTo>
                      <a:pt x="183" y="0"/>
                    </a:lnTo>
                    <a:lnTo>
                      <a:pt x="183" y="219"/>
                    </a:lnTo>
                    <a:cubicBezTo>
                      <a:pt x="183" y="246"/>
                      <a:pt x="159" y="268"/>
                      <a:pt x="131" y="268"/>
                    </a:cubicBezTo>
                    <a:cubicBezTo>
                      <a:pt x="102" y="268"/>
                      <a:pt x="79" y="246"/>
                      <a:pt x="79" y="219"/>
                    </a:cubicBez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noProof="0" dirty="0"/>
              </a:p>
            </p:txBody>
          </p:sp>
          <p:sp>
            <p:nvSpPr>
              <p:cNvPr id="245" name="Freeform 40">
                <a:extLst>
                  <a:ext uri="{FF2B5EF4-FFF2-40B4-BE49-F238E27FC236}">
                    <a16:creationId xmlns:a16="http://schemas.microsoft.com/office/drawing/2014/main" id="{57BDC298-F3D1-4543-AFF4-AC01EDDB62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30924" y="982325"/>
                <a:ext cx="276225" cy="277813"/>
              </a:xfrm>
              <a:custGeom>
                <a:avLst/>
                <a:gdLst>
                  <a:gd name="T0" fmla="*/ 345 w 347"/>
                  <a:gd name="T1" fmla="*/ 199 h 348"/>
                  <a:gd name="T2" fmla="*/ 347 w 347"/>
                  <a:gd name="T3" fmla="*/ 174 h 348"/>
                  <a:gd name="T4" fmla="*/ 174 w 347"/>
                  <a:gd name="T5" fmla="*/ 0 h 348"/>
                  <a:gd name="T6" fmla="*/ 0 w 347"/>
                  <a:gd name="T7" fmla="*/ 174 h 348"/>
                  <a:gd name="T8" fmla="*/ 174 w 347"/>
                  <a:gd name="T9" fmla="*/ 348 h 348"/>
                  <a:gd name="T10" fmla="*/ 336 w 347"/>
                  <a:gd name="T11" fmla="*/ 237 h 348"/>
                  <a:gd name="T12" fmla="*/ 254 w 347"/>
                  <a:gd name="T13" fmla="*/ 237 h 348"/>
                  <a:gd name="T14" fmla="*/ 174 w 347"/>
                  <a:gd name="T15" fmla="*/ 276 h 348"/>
                  <a:gd name="T16" fmla="*/ 71 w 347"/>
                  <a:gd name="T17" fmla="*/ 174 h 348"/>
                  <a:gd name="T18" fmla="*/ 174 w 347"/>
                  <a:gd name="T19" fmla="*/ 71 h 348"/>
                  <a:gd name="T20" fmla="*/ 265 w 347"/>
                  <a:gd name="T21" fmla="*/ 128 h 348"/>
                  <a:gd name="T22" fmla="*/ 141 w 347"/>
                  <a:gd name="T23" fmla="*/ 128 h 348"/>
                  <a:gd name="T24" fmla="*/ 141 w 347"/>
                  <a:gd name="T25" fmla="*/ 199 h 348"/>
                  <a:gd name="T26" fmla="*/ 345 w 347"/>
                  <a:gd name="T27" fmla="*/ 199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7" h="348">
                    <a:moveTo>
                      <a:pt x="345" y="199"/>
                    </a:moveTo>
                    <a:cubicBezTo>
                      <a:pt x="347" y="191"/>
                      <a:pt x="347" y="183"/>
                      <a:pt x="347" y="174"/>
                    </a:cubicBezTo>
                    <a:cubicBezTo>
                      <a:pt x="347" y="78"/>
                      <a:pt x="270" y="0"/>
                      <a:pt x="174" y="0"/>
                    </a:cubicBezTo>
                    <a:cubicBezTo>
                      <a:pt x="78" y="0"/>
                      <a:pt x="0" y="78"/>
                      <a:pt x="0" y="174"/>
                    </a:cubicBezTo>
                    <a:cubicBezTo>
                      <a:pt x="0" y="270"/>
                      <a:pt x="78" y="348"/>
                      <a:pt x="174" y="348"/>
                    </a:cubicBezTo>
                    <a:cubicBezTo>
                      <a:pt x="248" y="348"/>
                      <a:pt x="310" y="301"/>
                      <a:pt x="336" y="237"/>
                    </a:cubicBezTo>
                    <a:lnTo>
                      <a:pt x="254" y="237"/>
                    </a:lnTo>
                    <a:cubicBezTo>
                      <a:pt x="235" y="260"/>
                      <a:pt x="206" y="276"/>
                      <a:pt x="174" y="276"/>
                    </a:cubicBezTo>
                    <a:cubicBezTo>
                      <a:pt x="117" y="276"/>
                      <a:pt x="71" y="230"/>
                      <a:pt x="71" y="174"/>
                    </a:cubicBezTo>
                    <a:cubicBezTo>
                      <a:pt x="71" y="117"/>
                      <a:pt x="117" y="71"/>
                      <a:pt x="174" y="71"/>
                    </a:cubicBezTo>
                    <a:cubicBezTo>
                      <a:pt x="214" y="71"/>
                      <a:pt x="248" y="95"/>
                      <a:pt x="265" y="128"/>
                    </a:cubicBezTo>
                    <a:lnTo>
                      <a:pt x="141" y="128"/>
                    </a:lnTo>
                    <a:lnTo>
                      <a:pt x="141" y="199"/>
                    </a:lnTo>
                    <a:lnTo>
                      <a:pt x="345" y="199"/>
                    </a:ln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noProof="0" dirty="0"/>
              </a:p>
            </p:txBody>
          </p:sp>
          <p:sp>
            <p:nvSpPr>
              <p:cNvPr id="246" name="Freeform 41">
                <a:extLst>
                  <a:ext uri="{FF2B5EF4-FFF2-40B4-BE49-F238E27FC236}">
                    <a16:creationId xmlns:a16="http://schemas.microsoft.com/office/drawing/2014/main" id="{7A9A748A-CB83-4144-8F00-BC54166F02B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34061" y="868025"/>
                <a:ext cx="276225" cy="395288"/>
              </a:xfrm>
              <a:custGeom>
                <a:avLst/>
                <a:gdLst>
                  <a:gd name="T0" fmla="*/ 273 w 347"/>
                  <a:gd name="T1" fmla="*/ 0 h 496"/>
                  <a:gd name="T2" fmla="*/ 273 w 347"/>
                  <a:gd name="T3" fmla="*/ 184 h 496"/>
                  <a:gd name="T4" fmla="*/ 173 w 347"/>
                  <a:gd name="T5" fmla="*/ 150 h 496"/>
                  <a:gd name="T6" fmla="*/ 0 w 347"/>
                  <a:gd name="T7" fmla="*/ 323 h 496"/>
                  <a:gd name="T8" fmla="*/ 173 w 347"/>
                  <a:gd name="T9" fmla="*/ 496 h 496"/>
                  <a:gd name="T10" fmla="*/ 273 w 347"/>
                  <a:gd name="T11" fmla="*/ 463 h 496"/>
                  <a:gd name="T12" fmla="*/ 273 w 347"/>
                  <a:gd name="T13" fmla="*/ 492 h 496"/>
                  <a:gd name="T14" fmla="*/ 347 w 347"/>
                  <a:gd name="T15" fmla="*/ 492 h 496"/>
                  <a:gd name="T16" fmla="*/ 347 w 347"/>
                  <a:gd name="T17" fmla="*/ 0 h 496"/>
                  <a:gd name="T18" fmla="*/ 273 w 347"/>
                  <a:gd name="T19" fmla="*/ 0 h 496"/>
                  <a:gd name="T20" fmla="*/ 196 w 347"/>
                  <a:gd name="T21" fmla="*/ 421 h 496"/>
                  <a:gd name="T22" fmla="*/ 173 w 347"/>
                  <a:gd name="T23" fmla="*/ 425 h 496"/>
                  <a:gd name="T24" fmla="*/ 134 w 347"/>
                  <a:gd name="T25" fmla="*/ 416 h 496"/>
                  <a:gd name="T26" fmla="*/ 71 w 347"/>
                  <a:gd name="T27" fmla="*/ 321 h 496"/>
                  <a:gd name="T28" fmla="*/ 173 w 347"/>
                  <a:gd name="T29" fmla="*/ 219 h 496"/>
                  <a:gd name="T30" fmla="*/ 276 w 347"/>
                  <a:gd name="T31" fmla="*/ 321 h 496"/>
                  <a:gd name="T32" fmla="*/ 196 w 347"/>
                  <a:gd name="T33" fmla="*/ 421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7" h="496">
                    <a:moveTo>
                      <a:pt x="273" y="0"/>
                    </a:moveTo>
                    <a:lnTo>
                      <a:pt x="273" y="184"/>
                    </a:lnTo>
                    <a:cubicBezTo>
                      <a:pt x="245" y="163"/>
                      <a:pt x="211" y="150"/>
                      <a:pt x="173" y="150"/>
                    </a:cubicBezTo>
                    <a:cubicBezTo>
                      <a:pt x="77" y="150"/>
                      <a:pt x="0" y="227"/>
                      <a:pt x="0" y="323"/>
                    </a:cubicBezTo>
                    <a:cubicBezTo>
                      <a:pt x="0" y="418"/>
                      <a:pt x="77" y="496"/>
                      <a:pt x="173" y="496"/>
                    </a:cubicBezTo>
                    <a:cubicBezTo>
                      <a:pt x="211" y="496"/>
                      <a:pt x="245" y="484"/>
                      <a:pt x="273" y="463"/>
                    </a:cubicBezTo>
                    <a:lnTo>
                      <a:pt x="273" y="492"/>
                    </a:lnTo>
                    <a:lnTo>
                      <a:pt x="347" y="492"/>
                    </a:lnTo>
                    <a:lnTo>
                      <a:pt x="347" y="0"/>
                    </a:lnTo>
                    <a:lnTo>
                      <a:pt x="273" y="0"/>
                    </a:lnTo>
                    <a:close/>
                    <a:moveTo>
                      <a:pt x="196" y="421"/>
                    </a:moveTo>
                    <a:cubicBezTo>
                      <a:pt x="189" y="423"/>
                      <a:pt x="181" y="425"/>
                      <a:pt x="173" y="425"/>
                    </a:cubicBezTo>
                    <a:cubicBezTo>
                      <a:pt x="159" y="425"/>
                      <a:pt x="146" y="421"/>
                      <a:pt x="134" y="416"/>
                    </a:cubicBezTo>
                    <a:cubicBezTo>
                      <a:pt x="97" y="401"/>
                      <a:pt x="71" y="364"/>
                      <a:pt x="71" y="321"/>
                    </a:cubicBezTo>
                    <a:cubicBezTo>
                      <a:pt x="71" y="265"/>
                      <a:pt x="117" y="219"/>
                      <a:pt x="173" y="219"/>
                    </a:cubicBezTo>
                    <a:cubicBezTo>
                      <a:pt x="230" y="219"/>
                      <a:pt x="276" y="265"/>
                      <a:pt x="276" y="321"/>
                    </a:cubicBezTo>
                    <a:cubicBezTo>
                      <a:pt x="276" y="370"/>
                      <a:pt x="242" y="411"/>
                      <a:pt x="196" y="421"/>
                    </a:cubicBez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noProof="0" dirty="0"/>
              </a:p>
            </p:txBody>
          </p:sp>
          <p:sp>
            <p:nvSpPr>
              <p:cNvPr id="247" name="Freeform 42">
                <a:extLst>
                  <a:ext uri="{FF2B5EF4-FFF2-40B4-BE49-F238E27FC236}">
                    <a16:creationId xmlns:a16="http://schemas.microsoft.com/office/drawing/2014/main" id="{6CB0F4B4-6126-44F3-9253-1B13F4FFCE2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868025"/>
                <a:ext cx="277812" cy="395288"/>
              </a:xfrm>
              <a:custGeom>
                <a:avLst/>
                <a:gdLst>
                  <a:gd name="T0" fmla="*/ 175 w 348"/>
                  <a:gd name="T1" fmla="*/ 150 h 496"/>
                  <a:gd name="T2" fmla="*/ 75 w 348"/>
                  <a:gd name="T3" fmla="*/ 184 h 496"/>
                  <a:gd name="T4" fmla="*/ 75 w 348"/>
                  <a:gd name="T5" fmla="*/ 0 h 496"/>
                  <a:gd name="T6" fmla="*/ 0 w 348"/>
                  <a:gd name="T7" fmla="*/ 0 h 496"/>
                  <a:gd name="T8" fmla="*/ 0 w 348"/>
                  <a:gd name="T9" fmla="*/ 492 h 496"/>
                  <a:gd name="T10" fmla="*/ 75 w 348"/>
                  <a:gd name="T11" fmla="*/ 492 h 496"/>
                  <a:gd name="T12" fmla="*/ 75 w 348"/>
                  <a:gd name="T13" fmla="*/ 463 h 496"/>
                  <a:gd name="T14" fmla="*/ 175 w 348"/>
                  <a:gd name="T15" fmla="*/ 496 h 496"/>
                  <a:gd name="T16" fmla="*/ 348 w 348"/>
                  <a:gd name="T17" fmla="*/ 323 h 496"/>
                  <a:gd name="T18" fmla="*/ 175 w 348"/>
                  <a:gd name="T19" fmla="*/ 150 h 496"/>
                  <a:gd name="T20" fmla="*/ 214 w 348"/>
                  <a:gd name="T21" fmla="*/ 416 h 496"/>
                  <a:gd name="T22" fmla="*/ 175 w 348"/>
                  <a:gd name="T23" fmla="*/ 425 h 496"/>
                  <a:gd name="T24" fmla="*/ 152 w 348"/>
                  <a:gd name="T25" fmla="*/ 421 h 496"/>
                  <a:gd name="T26" fmla="*/ 72 w 348"/>
                  <a:gd name="T27" fmla="*/ 321 h 496"/>
                  <a:gd name="T28" fmla="*/ 175 w 348"/>
                  <a:gd name="T29" fmla="*/ 219 h 496"/>
                  <a:gd name="T30" fmla="*/ 277 w 348"/>
                  <a:gd name="T31" fmla="*/ 321 h 496"/>
                  <a:gd name="T32" fmla="*/ 214 w 348"/>
                  <a:gd name="T33" fmla="*/ 41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8" h="496">
                    <a:moveTo>
                      <a:pt x="175" y="150"/>
                    </a:moveTo>
                    <a:cubicBezTo>
                      <a:pt x="137" y="150"/>
                      <a:pt x="103" y="163"/>
                      <a:pt x="75" y="184"/>
                    </a:cubicBezTo>
                    <a:lnTo>
                      <a:pt x="75" y="0"/>
                    </a:lnTo>
                    <a:lnTo>
                      <a:pt x="0" y="0"/>
                    </a:lnTo>
                    <a:lnTo>
                      <a:pt x="0" y="492"/>
                    </a:lnTo>
                    <a:lnTo>
                      <a:pt x="75" y="492"/>
                    </a:lnTo>
                    <a:lnTo>
                      <a:pt x="75" y="463"/>
                    </a:lnTo>
                    <a:cubicBezTo>
                      <a:pt x="103" y="484"/>
                      <a:pt x="137" y="496"/>
                      <a:pt x="175" y="496"/>
                    </a:cubicBezTo>
                    <a:cubicBezTo>
                      <a:pt x="271" y="496"/>
                      <a:pt x="348" y="418"/>
                      <a:pt x="348" y="323"/>
                    </a:cubicBezTo>
                    <a:cubicBezTo>
                      <a:pt x="348" y="227"/>
                      <a:pt x="271" y="150"/>
                      <a:pt x="175" y="150"/>
                    </a:cubicBezTo>
                    <a:close/>
                    <a:moveTo>
                      <a:pt x="214" y="416"/>
                    </a:moveTo>
                    <a:cubicBezTo>
                      <a:pt x="202" y="421"/>
                      <a:pt x="189" y="425"/>
                      <a:pt x="175" y="425"/>
                    </a:cubicBezTo>
                    <a:cubicBezTo>
                      <a:pt x="167" y="425"/>
                      <a:pt x="159" y="423"/>
                      <a:pt x="152" y="421"/>
                    </a:cubicBezTo>
                    <a:cubicBezTo>
                      <a:pt x="106" y="411"/>
                      <a:pt x="72" y="370"/>
                      <a:pt x="72" y="321"/>
                    </a:cubicBezTo>
                    <a:cubicBezTo>
                      <a:pt x="72" y="265"/>
                      <a:pt x="118" y="219"/>
                      <a:pt x="175" y="219"/>
                    </a:cubicBezTo>
                    <a:cubicBezTo>
                      <a:pt x="231" y="219"/>
                      <a:pt x="277" y="265"/>
                      <a:pt x="277" y="321"/>
                    </a:cubicBezTo>
                    <a:cubicBezTo>
                      <a:pt x="277" y="364"/>
                      <a:pt x="251" y="401"/>
                      <a:pt x="214" y="416"/>
                    </a:cubicBez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noProof="0" dirty="0"/>
              </a:p>
            </p:txBody>
          </p:sp>
        </p:grpSp>
      </p:grpSp>
      <p:sp>
        <p:nvSpPr>
          <p:cNvPr id="231" name="Bildplatzhalter 230">
            <a:extLst>
              <a:ext uri="{FF2B5EF4-FFF2-40B4-BE49-F238E27FC236}">
                <a16:creationId xmlns:a16="http://schemas.microsoft.com/office/drawing/2014/main" id="{5093C0B1-AC9E-468C-A24D-AF578C248AE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223200" cy="3024435"/>
          </a:xfrm>
          <a:custGeom>
            <a:avLst/>
            <a:gdLst>
              <a:gd name="connsiteX0" fmla="*/ 143223 w 9215438"/>
              <a:gd name="connsiteY0" fmla="*/ 3024000 h 3024435"/>
              <a:gd name="connsiteX1" fmla="*/ 157623 w 9215438"/>
              <a:gd name="connsiteY1" fmla="*/ 3024000 h 3024435"/>
              <a:gd name="connsiteX2" fmla="*/ 157623 w 9215438"/>
              <a:gd name="connsiteY2" fmla="*/ 3024435 h 3024435"/>
              <a:gd name="connsiteX3" fmla="*/ 143223 w 9215438"/>
              <a:gd name="connsiteY3" fmla="*/ 3024435 h 3024435"/>
              <a:gd name="connsiteX4" fmla="*/ 9063563 w 9215438"/>
              <a:gd name="connsiteY4" fmla="*/ 1800000 h 3024435"/>
              <a:gd name="connsiteX5" fmla="*/ 9071223 w 9215438"/>
              <a:gd name="connsiteY5" fmla="*/ 1800000 h 3024435"/>
              <a:gd name="connsiteX6" fmla="*/ 9071223 w 9215438"/>
              <a:gd name="connsiteY6" fmla="*/ 1800263 h 3024435"/>
              <a:gd name="connsiteX7" fmla="*/ 9063563 w 9215438"/>
              <a:gd name="connsiteY7" fmla="*/ 1800263 h 3024435"/>
              <a:gd name="connsiteX8" fmla="*/ 157348 w 9215438"/>
              <a:gd name="connsiteY8" fmla="*/ 144435 h 3024435"/>
              <a:gd name="connsiteX9" fmla="*/ 157623 w 9215438"/>
              <a:gd name="connsiteY9" fmla="*/ 144435 h 3024435"/>
              <a:gd name="connsiteX10" fmla="*/ 157623 w 9215438"/>
              <a:gd name="connsiteY10" fmla="*/ 158400 h 3024435"/>
              <a:gd name="connsiteX11" fmla="*/ 157348 w 9215438"/>
              <a:gd name="connsiteY11" fmla="*/ 158400 h 3024435"/>
              <a:gd name="connsiteX12" fmla="*/ 9057815 w 9215438"/>
              <a:gd name="connsiteY12" fmla="*/ 144115 h 3024435"/>
              <a:gd name="connsiteX13" fmla="*/ 9057815 w 9215438"/>
              <a:gd name="connsiteY13" fmla="*/ 576115 h 3024435"/>
              <a:gd name="connsiteX14" fmla="*/ 9072215 w 9215438"/>
              <a:gd name="connsiteY14" fmla="*/ 576115 h 3024435"/>
              <a:gd name="connsiteX15" fmla="*/ 9072215 w 9215438"/>
              <a:gd name="connsiteY15" fmla="*/ 144115 h 3024435"/>
              <a:gd name="connsiteX16" fmla="*/ 0 w 9215438"/>
              <a:gd name="connsiteY16" fmla="*/ 0 h 3024435"/>
              <a:gd name="connsiteX17" fmla="*/ 9215438 w 9215438"/>
              <a:gd name="connsiteY17" fmla="*/ 0 h 3024435"/>
              <a:gd name="connsiteX18" fmla="*/ 9215438 w 9215438"/>
              <a:gd name="connsiteY18" fmla="*/ 3024000 h 3024435"/>
              <a:gd name="connsiteX19" fmla="*/ 9077963 w 9215438"/>
              <a:gd name="connsiteY19" fmla="*/ 3024000 h 3024435"/>
              <a:gd name="connsiteX20" fmla="*/ 9077963 w 9215438"/>
              <a:gd name="connsiteY20" fmla="*/ 1800000 h 3024435"/>
              <a:gd name="connsiteX21" fmla="*/ 9071223 w 9215438"/>
              <a:gd name="connsiteY21" fmla="*/ 1800000 h 3024435"/>
              <a:gd name="connsiteX22" fmla="*/ 9071223 w 9215438"/>
              <a:gd name="connsiteY22" fmla="*/ 576263 h 3024435"/>
              <a:gd name="connsiteX23" fmla="*/ 7270998 w 9215438"/>
              <a:gd name="connsiteY23" fmla="*/ 576263 h 3024435"/>
              <a:gd name="connsiteX24" fmla="*/ 7270998 w 9215438"/>
              <a:gd name="connsiteY24" fmla="*/ 1800263 h 3024435"/>
              <a:gd name="connsiteX25" fmla="*/ 9063563 w 9215438"/>
              <a:gd name="connsiteY25" fmla="*/ 1800263 h 3024435"/>
              <a:gd name="connsiteX26" fmla="*/ 9063563 w 9215438"/>
              <a:gd name="connsiteY26" fmla="*/ 3024000 h 3024435"/>
              <a:gd name="connsiteX27" fmla="*/ 157623 w 9215438"/>
              <a:gd name="connsiteY27" fmla="*/ 3024000 h 3024435"/>
              <a:gd name="connsiteX28" fmla="*/ 157623 w 9215438"/>
              <a:gd name="connsiteY28" fmla="*/ 158400 h 3024435"/>
              <a:gd name="connsiteX29" fmla="*/ 9056548 w 9215438"/>
              <a:gd name="connsiteY29" fmla="*/ 158400 h 3024435"/>
              <a:gd name="connsiteX30" fmla="*/ 9056548 w 9215438"/>
              <a:gd name="connsiteY30" fmla="*/ 144000 h 3024435"/>
              <a:gd name="connsiteX31" fmla="*/ 157348 w 9215438"/>
              <a:gd name="connsiteY31" fmla="*/ 144000 h 3024435"/>
              <a:gd name="connsiteX32" fmla="*/ 157348 w 9215438"/>
              <a:gd name="connsiteY32" fmla="*/ 144435 h 3024435"/>
              <a:gd name="connsiteX33" fmla="*/ 143223 w 9215438"/>
              <a:gd name="connsiteY33" fmla="*/ 144435 h 3024435"/>
              <a:gd name="connsiteX34" fmla="*/ 143223 w 9215438"/>
              <a:gd name="connsiteY34" fmla="*/ 3024000 h 3024435"/>
              <a:gd name="connsiteX35" fmla="*/ 0 w 9215438"/>
              <a:gd name="connsiteY35" fmla="*/ 3024000 h 3024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9215438" h="3024435">
                <a:moveTo>
                  <a:pt x="143223" y="3024000"/>
                </a:moveTo>
                <a:lnTo>
                  <a:pt x="157623" y="3024000"/>
                </a:lnTo>
                <a:lnTo>
                  <a:pt x="157623" y="3024435"/>
                </a:lnTo>
                <a:lnTo>
                  <a:pt x="143223" y="3024435"/>
                </a:lnTo>
                <a:close/>
                <a:moveTo>
                  <a:pt x="9063563" y="1800000"/>
                </a:moveTo>
                <a:lnTo>
                  <a:pt x="9071223" y="1800000"/>
                </a:lnTo>
                <a:lnTo>
                  <a:pt x="9071223" y="1800263"/>
                </a:lnTo>
                <a:lnTo>
                  <a:pt x="9063563" y="1800263"/>
                </a:lnTo>
                <a:close/>
                <a:moveTo>
                  <a:pt x="157348" y="144435"/>
                </a:moveTo>
                <a:lnTo>
                  <a:pt x="157623" y="144435"/>
                </a:lnTo>
                <a:lnTo>
                  <a:pt x="157623" y="158400"/>
                </a:lnTo>
                <a:lnTo>
                  <a:pt x="157348" y="158400"/>
                </a:lnTo>
                <a:close/>
                <a:moveTo>
                  <a:pt x="9057815" y="144115"/>
                </a:moveTo>
                <a:lnTo>
                  <a:pt x="9057815" y="576115"/>
                </a:lnTo>
                <a:lnTo>
                  <a:pt x="9072215" y="576115"/>
                </a:lnTo>
                <a:lnTo>
                  <a:pt x="9072215" y="144115"/>
                </a:lnTo>
                <a:close/>
                <a:moveTo>
                  <a:pt x="0" y="0"/>
                </a:moveTo>
                <a:lnTo>
                  <a:pt x="9215438" y="0"/>
                </a:lnTo>
                <a:lnTo>
                  <a:pt x="9215438" y="3024000"/>
                </a:lnTo>
                <a:lnTo>
                  <a:pt x="9077963" y="3024000"/>
                </a:lnTo>
                <a:lnTo>
                  <a:pt x="9077963" y="1800000"/>
                </a:lnTo>
                <a:lnTo>
                  <a:pt x="9071223" y="1800000"/>
                </a:lnTo>
                <a:lnTo>
                  <a:pt x="9071223" y="576263"/>
                </a:lnTo>
                <a:lnTo>
                  <a:pt x="7270998" y="576263"/>
                </a:lnTo>
                <a:lnTo>
                  <a:pt x="7270998" y="1800263"/>
                </a:lnTo>
                <a:lnTo>
                  <a:pt x="9063563" y="1800263"/>
                </a:lnTo>
                <a:lnTo>
                  <a:pt x="9063563" y="3024000"/>
                </a:lnTo>
                <a:lnTo>
                  <a:pt x="157623" y="3024000"/>
                </a:lnTo>
                <a:lnTo>
                  <a:pt x="157623" y="158400"/>
                </a:lnTo>
                <a:lnTo>
                  <a:pt x="9056548" y="158400"/>
                </a:lnTo>
                <a:lnTo>
                  <a:pt x="9056548" y="144000"/>
                </a:lnTo>
                <a:lnTo>
                  <a:pt x="157348" y="144000"/>
                </a:lnTo>
                <a:lnTo>
                  <a:pt x="157348" y="144435"/>
                </a:lnTo>
                <a:lnTo>
                  <a:pt x="143223" y="144435"/>
                </a:lnTo>
                <a:lnTo>
                  <a:pt x="143223" y="3024000"/>
                </a:lnTo>
                <a:lnTo>
                  <a:pt x="0" y="3024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432000" tIns="32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 dirty="0"/>
              <a:t>Bild durch Klicken auf Symbol hinzufüg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D8F7A42-0CF4-4998-960F-E80D43C7A03A}"/>
              </a:ext>
            </a:extLst>
          </p:cNvPr>
          <p:cNvSpPr/>
          <p:nvPr/>
        </p:nvSpPr>
        <p:spPr bwMode="grayWhite">
          <a:xfrm>
            <a:off x="1" y="3384475"/>
            <a:ext cx="9215438" cy="18065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60" noProof="0" dirty="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80B651-FA77-43FF-A552-95A5EF8C9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256" y="3672547"/>
            <a:ext cx="6911579" cy="360000"/>
          </a:xfrm>
        </p:spPr>
        <p:txBody>
          <a:bodyPr wrap="none" lIns="0" tIns="0" rIns="0" bIns="0" anchor="b">
            <a:noAutofit/>
          </a:bodyPr>
          <a:lstStyle>
            <a:lvl1pPr algn="l">
              <a:lnSpc>
                <a:spcPct val="100000"/>
              </a:lnSpc>
              <a:defRPr sz="2600" b="1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2047FA1-05E6-4914-9E1F-9171B3BD67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256" y="4176627"/>
            <a:ext cx="6911579" cy="576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345578" indent="0" algn="ctr">
              <a:buNone/>
              <a:defRPr sz="1512"/>
            </a:lvl2pPr>
            <a:lvl3pPr marL="691157" indent="0" algn="ctr">
              <a:buNone/>
              <a:defRPr sz="1360"/>
            </a:lvl3pPr>
            <a:lvl4pPr marL="1036735" indent="0" algn="ctr">
              <a:buNone/>
              <a:defRPr sz="1209"/>
            </a:lvl4pPr>
            <a:lvl5pPr marL="1382316" indent="0" algn="ctr">
              <a:buNone/>
              <a:defRPr sz="1209"/>
            </a:lvl5pPr>
            <a:lvl6pPr marL="1727893" indent="0" algn="ctr">
              <a:buNone/>
              <a:defRPr sz="1209"/>
            </a:lvl6pPr>
            <a:lvl7pPr marL="2073473" indent="0" algn="ctr">
              <a:buNone/>
              <a:defRPr sz="1209"/>
            </a:lvl7pPr>
            <a:lvl8pPr marL="2419051" indent="0" algn="ctr">
              <a:buNone/>
              <a:defRPr sz="1209"/>
            </a:lvl8pPr>
            <a:lvl9pPr marL="2764630" indent="0" algn="ctr">
              <a:buNone/>
              <a:defRPr sz="1209"/>
            </a:lvl9pPr>
          </a:lstStyle>
          <a:p>
            <a:r>
              <a:rPr lang="de-DE" noProof="0" dirty="0"/>
              <a:t>Master-Untertitelformat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31ADE1F-3339-4E57-AF5F-0ABBE14A423A}"/>
              </a:ext>
            </a:extLst>
          </p:cNvPr>
          <p:cNvSpPr txBox="1"/>
          <p:nvPr/>
        </p:nvSpPr>
        <p:spPr>
          <a:xfrm>
            <a:off x="431799" y="4680000"/>
            <a:ext cx="2880001" cy="216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de-DE" sz="800" noProof="0" dirty="0">
                <a:solidFill>
                  <a:schemeClr val="bg1"/>
                </a:solidFill>
              </a:rPr>
              <a:t>© BDEW Bundesverband der Energie- und Wasserwirtschaft e.V. </a:t>
            </a:r>
            <a:endParaRPr lang="de-DE" sz="1360" noProof="0" dirty="0">
              <a:solidFill>
                <a:schemeClr val="bg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14FA0E42-6739-40CF-8134-93A20DC4BE70}"/>
              </a:ext>
            </a:extLst>
          </p:cNvPr>
          <p:cNvSpPr/>
          <p:nvPr/>
        </p:nvSpPr>
        <p:spPr>
          <a:xfrm>
            <a:off x="149617" y="144115"/>
            <a:ext cx="8928000" cy="4896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360" noProof="0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F49EA0F-470E-4848-8624-5CE19AA0E52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240000" y="4680000"/>
            <a:ext cx="720000" cy="216000"/>
          </a:xfrm>
          <a:noFill/>
        </p:spPr>
        <p:txBody>
          <a:bodyPr wrap="none" lIns="0" tIns="0" rIns="0" bIns="0" rtlCol="0" anchor="ctr" anchorCtr="0">
            <a:noAutofit/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</a:lstStyle>
          <a:p>
            <a:fld id="{3772B907-867A-4FAE-B91A-416CBB28E748}" type="datetime1">
              <a:rPr lang="de-DE" smtClean="0"/>
              <a:t>24.11.2022</a:t>
            </a:fld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3EA838E-5213-4879-A2D6-5CD6F8A3B68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 rot="16200000">
            <a:off x="-2540808" y="2412572"/>
            <a:ext cx="4932000" cy="144000"/>
          </a:xfrm>
        </p:spPr>
        <p:txBody>
          <a:bodyPr/>
          <a:lstStyle/>
          <a:p>
            <a:r>
              <a:rPr lang="de-DE" noProof="0"/>
              <a:t>wasserportal.info: Infoservice für Wasserversorger und ihre Kunden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D656861-D621-4470-819F-20325BEF23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 rot="16200000">
            <a:off x="-180793" y="4990705"/>
            <a:ext cx="216000" cy="144000"/>
          </a:xfrm>
        </p:spPr>
        <p:txBody>
          <a:bodyPr/>
          <a:lstStyle/>
          <a:p>
            <a:fld id="{915ABBCB-2658-4656-B2C4-43A1F658563B}" type="slidenum">
              <a:rPr lang="de-DE" noProof="0" smtClean="0"/>
              <a:t>‹Nr.›</a:t>
            </a:fld>
            <a:endParaRPr lang="de-DE" noProof="0" dirty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52EACCB3-6F83-434A-A6F3-B5929EB1E67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655" y="2844981"/>
            <a:ext cx="3024000" cy="144000"/>
          </a:xfrm>
        </p:spPr>
        <p:txBody>
          <a:bodyPr/>
          <a:lstStyle>
            <a:lvl1pPr>
              <a:buNone/>
              <a:defRPr sz="1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de-DE" noProof="0" dirty="0"/>
              <a:t>Quelle hinzufügen</a:t>
            </a:r>
          </a:p>
        </p:txBody>
      </p:sp>
    </p:spTree>
    <p:extLst>
      <p:ext uri="{BB962C8B-B14F-4D97-AF65-F5344CB8AC3E}">
        <p14:creationId xmlns:p14="http://schemas.microsoft.com/office/powerpoint/2010/main" val="3149911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05">
          <p15:clr>
            <a:srgbClr val="FBAE40"/>
          </p15:clr>
        </p15:guide>
        <p15:guide id="3" pos="90">
          <p15:clr>
            <a:srgbClr val="FBAE40"/>
          </p15:clr>
        </p15:guide>
        <p15:guide id="4" pos="5715">
          <p15:clr>
            <a:srgbClr val="FBAE40"/>
          </p15:clr>
        </p15:guide>
        <p15:guide id="5" orient="horz" pos="9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ED8F7A42-0CF4-4998-960F-E80D43C7A03A}"/>
              </a:ext>
            </a:extLst>
          </p:cNvPr>
          <p:cNvSpPr/>
          <p:nvPr userDrawn="1"/>
        </p:nvSpPr>
        <p:spPr bwMode="grayWhite">
          <a:xfrm>
            <a:off x="1" y="3024435"/>
            <a:ext cx="9215438" cy="2160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60" dirty="0">
              <a:solidFill>
                <a:schemeClr val="bg1"/>
              </a:solidFill>
            </a:endParaRPr>
          </a:p>
        </p:txBody>
      </p:sp>
      <p:grpSp>
        <p:nvGrpSpPr>
          <p:cNvPr id="240" name="Gruppieren 239">
            <a:extLst>
              <a:ext uri="{FF2B5EF4-FFF2-40B4-BE49-F238E27FC236}">
                <a16:creationId xmlns:a16="http://schemas.microsoft.com/office/drawing/2014/main" id="{635DE3A3-5F75-4957-8585-713416C3BA2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71990" y="576162"/>
            <a:ext cx="1800225" cy="1224000"/>
            <a:chOff x="7271990" y="576162"/>
            <a:chExt cx="1800225" cy="1224000"/>
          </a:xfrm>
        </p:grpSpPr>
        <p:sp>
          <p:nvSpPr>
            <p:cNvPr id="241" name="Rectangle 6">
              <a:extLst>
                <a:ext uri="{FF2B5EF4-FFF2-40B4-BE49-F238E27FC236}">
                  <a16:creationId xmlns:a16="http://schemas.microsoft.com/office/drawing/2014/main" id="{FC072CB3-74F3-433F-A5FE-3F1AF3C6175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71990" y="576162"/>
              <a:ext cx="1800225" cy="1224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42" name="Gruppieren 241">
              <a:extLst>
                <a:ext uri="{FF2B5EF4-FFF2-40B4-BE49-F238E27FC236}">
                  <a16:creationId xmlns:a16="http://schemas.microsoft.com/office/drawing/2014/main" id="{5FA7764E-1C3B-47DF-8BAD-7DDB70F8FEAE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7538786" y="868025"/>
              <a:ext cx="1244600" cy="646113"/>
              <a:chOff x="7538786" y="868025"/>
              <a:chExt cx="1244600" cy="646113"/>
            </a:xfrm>
          </p:grpSpPr>
          <p:sp>
            <p:nvSpPr>
              <p:cNvPr id="243" name="Freeform 38">
                <a:extLst>
                  <a:ext uri="{FF2B5EF4-FFF2-40B4-BE49-F238E27FC236}">
                    <a16:creationId xmlns:a16="http://schemas.microsoft.com/office/drawing/2014/main" id="{A8E670C4-5CE3-4C4C-A26F-FED2E9185BB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1398250"/>
                <a:ext cx="1244600" cy="115888"/>
              </a:xfrm>
              <a:custGeom>
                <a:avLst/>
                <a:gdLst>
                  <a:gd name="T0" fmla="*/ 1559 w 1559"/>
                  <a:gd name="T1" fmla="*/ 104 h 146"/>
                  <a:gd name="T2" fmla="*/ 1471 w 1559"/>
                  <a:gd name="T3" fmla="*/ 48 h 146"/>
                  <a:gd name="T4" fmla="*/ 1472 w 1559"/>
                  <a:gd name="T5" fmla="*/ 114 h 146"/>
                  <a:gd name="T6" fmla="*/ 1518 w 1559"/>
                  <a:gd name="T7" fmla="*/ 114 h 146"/>
                  <a:gd name="T8" fmla="*/ 1433 w 1559"/>
                  <a:gd name="T9" fmla="*/ 74 h 146"/>
                  <a:gd name="T10" fmla="*/ 1431 w 1559"/>
                  <a:gd name="T11" fmla="*/ 92 h 146"/>
                  <a:gd name="T12" fmla="*/ 1332 w 1559"/>
                  <a:gd name="T13" fmla="*/ 75 h 146"/>
                  <a:gd name="T14" fmla="*/ 1332 w 1559"/>
                  <a:gd name="T15" fmla="*/ 75 h 146"/>
                  <a:gd name="T16" fmla="*/ 1304 w 1559"/>
                  <a:gd name="T17" fmla="*/ 2 h 146"/>
                  <a:gd name="T18" fmla="*/ 1303 w 1559"/>
                  <a:gd name="T19" fmla="*/ 108 h 146"/>
                  <a:gd name="T20" fmla="*/ 1232 w 1559"/>
                  <a:gd name="T21" fmla="*/ 51 h 146"/>
                  <a:gd name="T22" fmla="*/ 1231 w 1559"/>
                  <a:gd name="T23" fmla="*/ 115 h 146"/>
                  <a:gd name="T24" fmla="*/ 1265 w 1559"/>
                  <a:gd name="T25" fmla="*/ 80 h 146"/>
                  <a:gd name="T26" fmla="*/ 1145 w 1559"/>
                  <a:gd name="T27" fmla="*/ 11 h 146"/>
                  <a:gd name="T28" fmla="*/ 1061 w 1559"/>
                  <a:gd name="T29" fmla="*/ 92 h 146"/>
                  <a:gd name="T30" fmla="*/ 1044 w 1559"/>
                  <a:gd name="T31" fmla="*/ 37 h 146"/>
                  <a:gd name="T32" fmla="*/ 1008 w 1559"/>
                  <a:gd name="T33" fmla="*/ 56 h 146"/>
                  <a:gd name="T34" fmla="*/ 1051 w 1559"/>
                  <a:gd name="T35" fmla="*/ 54 h 146"/>
                  <a:gd name="T36" fmla="*/ 970 w 1559"/>
                  <a:gd name="T37" fmla="*/ 68 h 146"/>
                  <a:gd name="T38" fmla="*/ 989 w 1559"/>
                  <a:gd name="T39" fmla="*/ 108 h 146"/>
                  <a:gd name="T40" fmla="*/ 990 w 1559"/>
                  <a:gd name="T41" fmla="*/ 74 h 146"/>
                  <a:gd name="T42" fmla="*/ 906 w 1559"/>
                  <a:gd name="T43" fmla="*/ 57 h 146"/>
                  <a:gd name="T44" fmla="*/ 892 w 1559"/>
                  <a:gd name="T45" fmla="*/ 92 h 146"/>
                  <a:gd name="T46" fmla="*/ 911 w 1559"/>
                  <a:gd name="T47" fmla="*/ 91 h 146"/>
                  <a:gd name="T48" fmla="*/ 837 w 1559"/>
                  <a:gd name="T49" fmla="*/ 57 h 146"/>
                  <a:gd name="T50" fmla="*/ 823 w 1559"/>
                  <a:gd name="T51" fmla="*/ 92 h 146"/>
                  <a:gd name="T52" fmla="*/ 843 w 1559"/>
                  <a:gd name="T53" fmla="*/ 91 h 146"/>
                  <a:gd name="T54" fmla="*/ 749 w 1559"/>
                  <a:gd name="T55" fmla="*/ 80 h 146"/>
                  <a:gd name="T56" fmla="*/ 765 w 1559"/>
                  <a:gd name="T57" fmla="*/ 43 h 146"/>
                  <a:gd name="T58" fmla="*/ 749 w 1559"/>
                  <a:gd name="T59" fmla="*/ 61 h 146"/>
                  <a:gd name="T60" fmla="*/ 751 w 1559"/>
                  <a:gd name="T61" fmla="*/ 107 h 146"/>
                  <a:gd name="T62" fmla="*/ 667 w 1559"/>
                  <a:gd name="T63" fmla="*/ 61 h 146"/>
                  <a:gd name="T64" fmla="*/ 613 w 1559"/>
                  <a:gd name="T65" fmla="*/ 61 h 146"/>
                  <a:gd name="T66" fmla="*/ 597 w 1559"/>
                  <a:gd name="T67" fmla="*/ 114 h 146"/>
                  <a:gd name="T68" fmla="*/ 650 w 1559"/>
                  <a:gd name="T69" fmla="*/ 114 h 146"/>
                  <a:gd name="T70" fmla="*/ 512 w 1559"/>
                  <a:gd name="T71" fmla="*/ 104 h 146"/>
                  <a:gd name="T72" fmla="*/ 464 w 1559"/>
                  <a:gd name="T73" fmla="*/ 51 h 146"/>
                  <a:gd name="T74" fmla="*/ 462 w 1559"/>
                  <a:gd name="T75" fmla="*/ 115 h 146"/>
                  <a:gd name="T76" fmla="*/ 496 w 1559"/>
                  <a:gd name="T77" fmla="*/ 80 h 146"/>
                  <a:gd name="T78" fmla="*/ 393 w 1559"/>
                  <a:gd name="T79" fmla="*/ 38 h 146"/>
                  <a:gd name="T80" fmla="*/ 391 w 1559"/>
                  <a:gd name="T81" fmla="*/ 12 h 146"/>
                  <a:gd name="T82" fmla="*/ 326 w 1559"/>
                  <a:gd name="T83" fmla="*/ 75 h 146"/>
                  <a:gd name="T84" fmla="*/ 355 w 1559"/>
                  <a:gd name="T85" fmla="*/ 38 h 146"/>
                  <a:gd name="T86" fmla="*/ 353 w 1559"/>
                  <a:gd name="T87" fmla="*/ 103 h 146"/>
                  <a:gd name="T88" fmla="*/ 310 w 1559"/>
                  <a:gd name="T89" fmla="*/ 122 h 146"/>
                  <a:gd name="T90" fmla="*/ 373 w 1559"/>
                  <a:gd name="T91" fmla="*/ 56 h 146"/>
                  <a:gd name="T92" fmla="*/ 269 w 1559"/>
                  <a:gd name="T93" fmla="*/ 47 h 146"/>
                  <a:gd name="T94" fmla="*/ 270 w 1559"/>
                  <a:gd name="T95" fmla="*/ 114 h 146"/>
                  <a:gd name="T96" fmla="*/ 211 w 1559"/>
                  <a:gd name="T97" fmla="*/ 68 h 146"/>
                  <a:gd name="T98" fmla="*/ 198 w 1559"/>
                  <a:gd name="T99" fmla="*/ 36 h 146"/>
                  <a:gd name="T100" fmla="*/ 200 w 1559"/>
                  <a:gd name="T101" fmla="*/ 100 h 146"/>
                  <a:gd name="T102" fmla="*/ 148 w 1559"/>
                  <a:gd name="T103" fmla="*/ 62 h 146"/>
                  <a:gd name="T104" fmla="*/ 81 w 1559"/>
                  <a:gd name="T105" fmla="*/ 38 h 146"/>
                  <a:gd name="T106" fmla="*/ 119 w 1559"/>
                  <a:gd name="T107" fmla="*/ 54 h 146"/>
                  <a:gd name="T108" fmla="*/ 66 w 1559"/>
                  <a:gd name="T109" fmla="*/ 96 h 146"/>
                  <a:gd name="T110" fmla="*/ 21 w 1559"/>
                  <a:gd name="T111" fmla="*/ 52 h 146"/>
                  <a:gd name="T112" fmla="*/ 0 w 1559"/>
                  <a:gd name="T113" fmla="*/ 11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59" h="146">
                    <a:moveTo>
                      <a:pt x="1559" y="104"/>
                    </a:moveTo>
                    <a:cubicBezTo>
                      <a:pt x="1559" y="98"/>
                      <a:pt x="1556" y="92"/>
                      <a:pt x="1547" y="92"/>
                    </a:cubicBezTo>
                    <a:cubicBezTo>
                      <a:pt x="1539" y="92"/>
                      <a:pt x="1535" y="98"/>
                      <a:pt x="1535" y="104"/>
                    </a:cubicBezTo>
                    <a:cubicBezTo>
                      <a:pt x="1535" y="110"/>
                      <a:pt x="1539" y="116"/>
                      <a:pt x="1547" y="116"/>
                    </a:cubicBezTo>
                    <a:cubicBezTo>
                      <a:pt x="1556" y="116"/>
                      <a:pt x="1559" y="110"/>
                      <a:pt x="1559" y="104"/>
                    </a:cubicBezTo>
                    <a:close/>
                    <a:moveTo>
                      <a:pt x="1518" y="114"/>
                    </a:moveTo>
                    <a:lnTo>
                      <a:pt x="1518" y="62"/>
                    </a:lnTo>
                    <a:cubicBezTo>
                      <a:pt x="1518" y="55"/>
                      <a:pt x="1517" y="49"/>
                      <a:pt x="1514" y="45"/>
                    </a:cubicBezTo>
                    <a:cubicBezTo>
                      <a:pt x="1510" y="39"/>
                      <a:pt x="1504" y="36"/>
                      <a:pt x="1495" y="36"/>
                    </a:cubicBezTo>
                    <a:cubicBezTo>
                      <a:pt x="1485" y="36"/>
                      <a:pt x="1474" y="45"/>
                      <a:pt x="1471" y="48"/>
                    </a:cubicBezTo>
                    <a:cubicBezTo>
                      <a:pt x="1471" y="43"/>
                      <a:pt x="1470" y="38"/>
                      <a:pt x="1470" y="38"/>
                    </a:cubicBezTo>
                    <a:lnTo>
                      <a:pt x="1450" y="38"/>
                    </a:lnTo>
                    <a:cubicBezTo>
                      <a:pt x="1450" y="38"/>
                      <a:pt x="1451" y="47"/>
                      <a:pt x="1451" y="56"/>
                    </a:cubicBezTo>
                    <a:lnTo>
                      <a:pt x="1451" y="114"/>
                    </a:lnTo>
                    <a:lnTo>
                      <a:pt x="1472" y="114"/>
                    </a:lnTo>
                    <a:lnTo>
                      <a:pt x="1472" y="62"/>
                    </a:lnTo>
                    <a:cubicBezTo>
                      <a:pt x="1475" y="59"/>
                      <a:pt x="1482" y="54"/>
                      <a:pt x="1488" y="54"/>
                    </a:cubicBezTo>
                    <a:cubicBezTo>
                      <a:pt x="1493" y="54"/>
                      <a:pt x="1497" y="55"/>
                      <a:pt x="1497" y="64"/>
                    </a:cubicBezTo>
                    <a:lnTo>
                      <a:pt x="1497" y="114"/>
                    </a:lnTo>
                    <a:lnTo>
                      <a:pt x="1518" y="114"/>
                    </a:lnTo>
                    <a:close/>
                    <a:moveTo>
                      <a:pt x="1413" y="68"/>
                    </a:moveTo>
                    <a:lnTo>
                      <a:pt x="1389" y="68"/>
                    </a:lnTo>
                    <a:cubicBezTo>
                      <a:pt x="1389" y="62"/>
                      <a:pt x="1391" y="51"/>
                      <a:pt x="1400" y="51"/>
                    </a:cubicBezTo>
                    <a:cubicBezTo>
                      <a:pt x="1411" y="51"/>
                      <a:pt x="1413" y="62"/>
                      <a:pt x="1413" y="68"/>
                    </a:cubicBezTo>
                    <a:close/>
                    <a:moveTo>
                      <a:pt x="1433" y="74"/>
                    </a:moveTo>
                    <a:cubicBezTo>
                      <a:pt x="1433" y="56"/>
                      <a:pt x="1426" y="36"/>
                      <a:pt x="1400" y="36"/>
                    </a:cubicBezTo>
                    <a:cubicBezTo>
                      <a:pt x="1378" y="36"/>
                      <a:pt x="1367" y="56"/>
                      <a:pt x="1367" y="76"/>
                    </a:cubicBezTo>
                    <a:cubicBezTo>
                      <a:pt x="1367" y="90"/>
                      <a:pt x="1372" y="115"/>
                      <a:pt x="1399" y="115"/>
                    </a:cubicBezTo>
                    <a:cubicBezTo>
                      <a:pt x="1420" y="115"/>
                      <a:pt x="1432" y="108"/>
                      <a:pt x="1432" y="108"/>
                    </a:cubicBezTo>
                    <a:lnTo>
                      <a:pt x="1431" y="92"/>
                    </a:lnTo>
                    <a:cubicBezTo>
                      <a:pt x="1431" y="92"/>
                      <a:pt x="1416" y="100"/>
                      <a:pt x="1402" y="100"/>
                    </a:cubicBezTo>
                    <a:cubicBezTo>
                      <a:pt x="1393" y="100"/>
                      <a:pt x="1389" y="94"/>
                      <a:pt x="1389" y="80"/>
                    </a:cubicBezTo>
                    <a:lnTo>
                      <a:pt x="1433" y="80"/>
                    </a:lnTo>
                    <a:cubicBezTo>
                      <a:pt x="1433" y="80"/>
                      <a:pt x="1433" y="76"/>
                      <a:pt x="1433" y="74"/>
                    </a:cubicBezTo>
                    <a:moveTo>
                      <a:pt x="1332" y="75"/>
                    </a:moveTo>
                    <a:cubicBezTo>
                      <a:pt x="1332" y="93"/>
                      <a:pt x="1326" y="99"/>
                      <a:pt x="1319" y="99"/>
                    </a:cubicBezTo>
                    <a:cubicBezTo>
                      <a:pt x="1316" y="99"/>
                      <a:pt x="1310" y="97"/>
                      <a:pt x="1304" y="94"/>
                    </a:cubicBezTo>
                    <a:lnTo>
                      <a:pt x="1304" y="59"/>
                    </a:lnTo>
                    <a:cubicBezTo>
                      <a:pt x="1310" y="54"/>
                      <a:pt x="1316" y="53"/>
                      <a:pt x="1320" y="53"/>
                    </a:cubicBezTo>
                    <a:cubicBezTo>
                      <a:pt x="1330" y="53"/>
                      <a:pt x="1332" y="67"/>
                      <a:pt x="1332" y="75"/>
                    </a:cubicBezTo>
                    <a:close/>
                    <a:moveTo>
                      <a:pt x="1353" y="76"/>
                    </a:moveTo>
                    <a:cubicBezTo>
                      <a:pt x="1353" y="60"/>
                      <a:pt x="1349" y="36"/>
                      <a:pt x="1324" y="36"/>
                    </a:cubicBezTo>
                    <a:cubicBezTo>
                      <a:pt x="1315" y="36"/>
                      <a:pt x="1306" y="43"/>
                      <a:pt x="1304" y="44"/>
                    </a:cubicBezTo>
                    <a:cubicBezTo>
                      <a:pt x="1304" y="44"/>
                      <a:pt x="1304" y="39"/>
                      <a:pt x="1304" y="36"/>
                    </a:cubicBezTo>
                    <a:lnTo>
                      <a:pt x="1304" y="2"/>
                    </a:lnTo>
                    <a:lnTo>
                      <a:pt x="1284" y="4"/>
                    </a:lnTo>
                    <a:lnTo>
                      <a:pt x="1284" y="98"/>
                    </a:lnTo>
                    <a:cubicBezTo>
                      <a:pt x="1284" y="105"/>
                      <a:pt x="1283" y="114"/>
                      <a:pt x="1283" y="114"/>
                    </a:cubicBezTo>
                    <a:lnTo>
                      <a:pt x="1302" y="114"/>
                    </a:lnTo>
                    <a:cubicBezTo>
                      <a:pt x="1303" y="112"/>
                      <a:pt x="1303" y="109"/>
                      <a:pt x="1303" y="108"/>
                    </a:cubicBezTo>
                    <a:cubicBezTo>
                      <a:pt x="1304" y="109"/>
                      <a:pt x="1313" y="115"/>
                      <a:pt x="1324" y="115"/>
                    </a:cubicBezTo>
                    <a:cubicBezTo>
                      <a:pt x="1342" y="115"/>
                      <a:pt x="1353" y="98"/>
                      <a:pt x="1353" y="76"/>
                    </a:cubicBezTo>
                    <a:moveTo>
                      <a:pt x="1245" y="68"/>
                    </a:moveTo>
                    <a:lnTo>
                      <a:pt x="1221" y="68"/>
                    </a:lnTo>
                    <a:cubicBezTo>
                      <a:pt x="1221" y="62"/>
                      <a:pt x="1223" y="51"/>
                      <a:pt x="1232" y="51"/>
                    </a:cubicBezTo>
                    <a:cubicBezTo>
                      <a:pt x="1243" y="51"/>
                      <a:pt x="1245" y="62"/>
                      <a:pt x="1245" y="68"/>
                    </a:cubicBezTo>
                    <a:close/>
                    <a:moveTo>
                      <a:pt x="1265" y="74"/>
                    </a:moveTo>
                    <a:cubicBezTo>
                      <a:pt x="1265" y="56"/>
                      <a:pt x="1258" y="36"/>
                      <a:pt x="1232" y="36"/>
                    </a:cubicBezTo>
                    <a:cubicBezTo>
                      <a:pt x="1210" y="36"/>
                      <a:pt x="1199" y="56"/>
                      <a:pt x="1199" y="76"/>
                    </a:cubicBezTo>
                    <a:cubicBezTo>
                      <a:pt x="1199" y="90"/>
                      <a:pt x="1204" y="115"/>
                      <a:pt x="1231" y="115"/>
                    </a:cubicBezTo>
                    <a:cubicBezTo>
                      <a:pt x="1251" y="115"/>
                      <a:pt x="1264" y="108"/>
                      <a:pt x="1264" y="108"/>
                    </a:cubicBezTo>
                    <a:lnTo>
                      <a:pt x="1263" y="92"/>
                    </a:lnTo>
                    <a:cubicBezTo>
                      <a:pt x="1263" y="92"/>
                      <a:pt x="1248" y="100"/>
                      <a:pt x="1234" y="100"/>
                    </a:cubicBezTo>
                    <a:cubicBezTo>
                      <a:pt x="1225" y="100"/>
                      <a:pt x="1221" y="94"/>
                      <a:pt x="1221" y="80"/>
                    </a:cubicBezTo>
                    <a:lnTo>
                      <a:pt x="1265" y="80"/>
                    </a:lnTo>
                    <a:cubicBezTo>
                      <a:pt x="1265" y="80"/>
                      <a:pt x="1265" y="76"/>
                      <a:pt x="1265" y="74"/>
                    </a:cubicBezTo>
                    <a:moveTo>
                      <a:pt x="1188" y="114"/>
                    </a:moveTo>
                    <a:lnTo>
                      <a:pt x="1188" y="95"/>
                    </a:lnTo>
                    <a:lnTo>
                      <a:pt x="1145" y="95"/>
                    </a:lnTo>
                    <a:lnTo>
                      <a:pt x="1145" y="11"/>
                    </a:lnTo>
                    <a:lnTo>
                      <a:pt x="1124" y="11"/>
                    </a:lnTo>
                    <a:lnTo>
                      <a:pt x="1124" y="114"/>
                    </a:lnTo>
                    <a:lnTo>
                      <a:pt x="1188" y="114"/>
                    </a:lnTo>
                    <a:close/>
                    <a:moveTo>
                      <a:pt x="1073" y="104"/>
                    </a:moveTo>
                    <a:cubicBezTo>
                      <a:pt x="1073" y="98"/>
                      <a:pt x="1069" y="92"/>
                      <a:pt x="1061" y="92"/>
                    </a:cubicBezTo>
                    <a:cubicBezTo>
                      <a:pt x="1053" y="92"/>
                      <a:pt x="1048" y="98"/>
                      <a:pt x="1048" y="104"/>
                    </a:cubicBezTo>
                    <a:cubicBezTo>
                      <a:pt x="1048" y="110"/>
                      <a:pt x="1053" y="116"/>
                      <a:pt x="1061" y="116"/>
                    </a:cubicBezTo>
                    <a:cubicBezTo>
                      <a:pt x="1069" y="116"/>
                      <a:pt x="1073" y="110"/>
                      <a:pt x="1073" y="104"/>
                    </a:cubicBezTo>
                    <a:close/>
                    <a:moveTo>
                      <a:pt x="1053" y="38"/>
                    </a:moveTo>
                    <a:cubicBezTo>
                      <a:pt x="1053" y="38"/>
                      <a:pt x="1052" y="37"/>
                      <a:pt x="1044" y="37"/>
                    </a:cubicBezTo>
                    <a:cubicBezTo>
                      <a:pt x="1038" y="37"/>
                      <a:pt x="1032" y="42"/>
                      <a:pt x="1029" y="45"/>
                    </a:cubicBezTo>
                    <a:cubicBezTo>
                      <a:pt x="1029" y="46"/>
                      <a:pt x="1028" y="47"/>
                      <a:pt x="1028" y="47"/>
                    </a:cubicBezTo>
                    <a:cubicBezTo>
                      <a:pt x="1028" y="43"/>
                      <a:pt x="1027" y="38"/>
                      <a:pt x="1027" y="38"/>
                    </a:cubicBezTo>
                    <a:lnTo>
                      <a:pt x="1007" y="38"/>
                    </a:lnTo>
                    <a:cubicBezTo>
                      <a:pt x="1007" y="38"/>
                      <a:pt x="1008" y="47"/>
                      <a:pt x="1008" y="56"/>
                    </a:cubicBezTo>
                    <a:lnTo>
                      <a:pt x="1008" y="114"/>
                    </a:lnTo>
                    <a:lnTo>
                      <a:pt x="1029" y="114"/>
                    </a:lnTo>
                    <a:lnTo>
                      <a:pt x="1029" y="60"/>
                    </a:lnTo>
                    <a:cubicBezTo>
                      <a:pt x="1034" y="56"/>
                      <a:pt x="1039" y="53"/>
                      <a:pt x="1041" y="53"/>
                    </a:cubicBezTo>
                    <a:cubicBezTo>
                      <a:pt x="1047" y="53"/>
                      <a:pt x="1051" y="54"/>
                      <a:pt x="1051" y="54"/>
                    </a:cubicBezTo>
                    <a:lnTo>
                      <a:pt x="1053" y="38"/>
                    </a:lnTo>
                    <a:close/>
                    <a:moveTo>
                      <a:pt x="970" y="68"/>
                    </a:moveTo>
                    <a:lnTo>
                      <a:pt x="946" y="68"/>
                    </a:lnTo>
                    <a:cubicBezTo>
                      <a:pt x="946" y="62"/>
                      <a:pt x="948" y="51"/>
                      <a:pt x="958" y="51"/>
                    </a:cubicBezTo>
                    <a:cubicBezTo>
                      <a:pt x="968" y="51"/>
                      <a:pt x="970" y="62"/>
                      <a:pt x="970" y="68"/>
                    </a:cubicBezTo>
                    <a:close/>
                    <a:moveTo>
                      <a:pt x="990" y="74"/>
                    </a:moveTo>
                    <a:cubicBezTo>
                      <a:pt x="990" y="56"/>
                      <a:pt x="983" y="36"/>
                      <a:pt x="958" y="36"/>
                    </a:cubicBezTo>
                    <a:cubicBezTo>
                      <a:pt x="935" y="36"/>
                      <a:pt x="925" y="56"/>
                      <a:pt x="925" y="76"/>
                    </a:cubicBezTo>
                    <a:cubicBezTo>
                      <a:pt x="925" y="90"/>
                      <a:pt x="929" y="115"/>
                      <a:pt x="956" y="115"/>
                    </a:cubicBezTo>
                    <a:cubicBezTo>
                      <a:pt x="977" y="115"/>
                      <a:pt x="989" y="108"/>
                      <a:pt x="989" y="108"/>
                    </a:cubicBezTo>
                    <a:lnTo>
                      <a:pt x="988" y="92"/>
                    </a:lnTo>
                    <a:cubicBezTo>
                      <a:pt x="988" y="92"/>
                      <a:pt x="974" y="100"/>
                      <a:pt x="960" y="100"/>
                    </a:cubicBezTo>
                    <a:cubicBezTo>
                      <a:pt x="951" y="100"/>
                      <a:pt x="946" y="94"/>
                      <a:pt x="946" y="80"/>
                    </a:cubicBezTo>
                    <a:lnTo>
                      <a:pt x="990" y="80"/>
                    </a:lnTo>
                    <a:cubicBezTo>
                      <a:pt x="990" y="80"/>
                      <a:pt x="990" y="76"/>
                      <a:pt x="990" y="74"/>
                    </a:cubicBezTo>
                    <a:moveTo>
                      <a:pt x="911" y="91"/>
                    </a:moveTo>
                    <a:cubicBezTo>
                      <a:pt x="911" y="73"/>
                      <a:pt x="894" y="70"/>
                      <a:pt x="882" y="64"/>
                    </a:cubicBezTo>
                    <a:cubicBezTo>
                      <a:pt x="879" y="63"/>
                      <a:pt x="876" y="61"/>
                      <a:pt x="876" y="58"/>
                    </a:cubicBezTo>
                    <a:cubicBezTo>
                      <a:pt x="876" y="56"/>
                      <a:pt x="878" y="52"/>
                      <a:pt x="884" y="52"/>
                    </a:cubicBezTo>
                    <a:cubicBezTo>
                      <a:pt x="894" y="52"/>
                      <a:pt x="906" y="57"/>
                      <a:pt x="906" y="57"/>
                    </a:cubicBezTo>
                    <a:lnTo>
                      <a:pt x="907" y="40"/>
                    </a:lnTo>
                    <a:cubicBezTo>
                      <a:pt x="907" y="40"/>
                      <a:pt x="897" y="36"/>
                      <a:pt x="885" y="36"/>
                    </a:cubicBezTo>
                    <a:cubicBezTo>
                      <a:pt x="870" y="36"/>
                      <a:pt x="857" y="44"/>
                      <a:pt x="857" y="60"/>
                    </a:cubicBezTo>
                    <a:cubicBezTo>
                      <a:pt x="857" y="77"/>
                      <a:pt x="874" y="80"/>
                      <a:pt x="885" y="85"/>
                    </a:cubicBezTo>
                    <a:cubicBezTo>
                      <a:pt x="889" y="87"/>
                      <a:pt x="892" y="89"/>
                      <a:pt x="892" y="92"/>
                    </a:cubicBezTo>
                    <a:cubicBezTo>
                      <a:pt x="892" y="96"/>
                      <a:pt x="888" y="99"/>
                      <a:pt x="883" y="99"/>
                    </a:cubicBezTo>
                    <a:cubicBezTo>
                      <a:pt x="872" y="99"/>
                      <a:pt x="857" y="91"/>
                      <a:pt x="857" y="91"/>
                    </a:cubicBezTo>
                    <a:lnTo>
                      <a:pt x="856" y="110"/>
                    </a:lnTo>
                    <a:cubicBezTo>
                      <a:pt x="856" y="110"/>
                      <a:pt x="869" y="116"/>
                      <a:pt x="883" y="116"/>
                    </a:cubicBezTo>
                    <a:cubicBezTo>
                      <a:pt x="898" y="116"/>
                      <a:pt x="911" y="108"/>
                      <a:pt x="911" y="91"/>
                    </a:cubicBezTo>
                    <a:close/>
                    <a:moveTo>
                      <a:pt x="843" y="91"/>
                    </a:moveTo>
                    <a:cubicBezTo>
                      <a:pt x="843" y="73"/>
                      <a:pt x="826" y="70"/>
                      <a:pt x="813" y="64"/>
                    </a:cubicBezTo>
                    <a:cubicBezTo>
                      <a:pt x="810" y="63"/>
                      <a:pt x="807" y="61"/>
                      <a:pt x="807" y="58"/>
                    </a:cubicBezTo>
                    <a:cubicBezTo>
                      <a:pt x="807" y="56"/>
                      <a:pt x="809" y="52"/>
                      <a:pt x="815" y="52"/>
                    </a:cubicBezTo>
                    <a:cubicBezTo>
                      <a:pt x="825" y="52"/>
                      <a:pt x="837" y="57"/>
                      <a:pt x="837" y="57"/>
                    </a:cubicBezTo>
                    <a:lnTo>
                      <a:pt x="838" y="40"/>
                    </a:lnTo>
                    <a:cubicBezTo>
                      <a:pt x="838" y="40"/>
                      <a:pt x="828" y="36"/>
                      <a:pt x="816" y="36"/>
                    </a:cubicBezTo>
                    <a:cubicBezTo>
                      <a:pt x="801" y="36"/>
                      <a:pt x="788" y="44"/>
                      <a:pt x="788" y="60"/>
                    </a:cubicBezTo>
                    <a:cubicBezTo>
                      <a:pt x="788" y="77"/>
                      <a:pt x="805" y="80"/>
                      <a:pt x="817" y="85"/>
                    </a:cubicBezTo>
                    <a:cubicBezTo>
                      <a:pt x="820" y="87"/>
                      <a:pt x="823" y="89"/>
                      <a:pt x="823" y="92"/>
                    </a:cubicBezTo>
                    <a:cubicBezTo>
                      <a:pt x="823" y="96"/>
                      <a:pt x="819" y="99"/>
                      <a:pt x="815" y="99"/>
                    </a:cubicBezTo>
                    <a:cubicBezTo>
                      <a:pt x="803" y="99"/>
                      <a:pt x="788" y="91"/>
                      <a:pt x="788" y="91"/>
                    </a:cubicBezTo>
                    <a:lnTo>
                      <a:pt x="787" y="110"/>
                    </a:lnTo>
                    <a:cubicBezTo>
                      <a:pt x="787" y="110"/>
                      <a:pt x="800" y="116"/>
                      <a:pt x="814" y="116"/>
                    </a:cubicBezTo>
                    <a:cubicBezTo>
                      <a:pt x="829" y="116"/>
                      <a:pt x="843" y="108"/>
                      <a:pt x="843" y="91"/>
                    </a:cubicBezTo>
                    <a:close/>
                    <a:moveTo>
                      <a:pt x="749" y="94"/>
                    </a:moveTo>
                    <a:cubicBezTo>
                      <a:pt x="747" y="96"/>
                      <a:pt x="742" y="100"/>
                      <a:pt x="736" y="100"/>
                    </a:cubicBezTo>
                    <a:cubicBezTo>
                      <a:pt x="731" y="100"/>
                      <a:pt x="729" y="95"/>
                      <a:pt x="729" y="91"/>
                    </a:cubicBezTo>
                    <a:cubicBezTo>
                      <a:pt x="729" y="89"/>
                      <a:pt x="730" y="87"/>
                      <a:pt x="732" y="85"/>
                    </a:cubicBezTo>
                    <a:cubicBezTo>
                      <a:pt x="736" y="81"/>
                      <a:pt x="746" y="80"/>
                      <a:pt x="749" y="80"/>
                    </a:cubicBezTo>
                    <a:lnTo>
                      <a:pt x="749" y="94"/>
                    </a:lnTo>
                    <a:close/>
                    <a:moveTo>
                      <a:pt x="771" y="114"/>
                    </a:moveTo>
                    <a:cubicBezTo>
                      <a:pt x="771" y="114"/>
                      <a:pt x="770" y="107"/>
                      <a:pt x="770" y="98"/>
                    </a:cubicBezTo>
                    <a:lnTo>
                      <a:pt x="770" y="62"/>
                    </a:lnTo>
                    <a:cubicBezTo>
                      <a:pt x="770" y="54"/>
                      <a:pt x="769" y="48"/>
                      <a:pt x="765" y="43"/>
                    </a:cubicBezTo>
                    <a:cubicBezTo>
                      <a:pt x="761" y="39"/>
                      <a:pt x="755" y="36"/>
                      <a:pt x="745" y="36"/>
                    </a:cubicBezTo>
                    <a:cubicBezTo>
                      <a:pt x="729" y="36"/>
                      <a:pt x="714" y="43"/>
                      <a:pt x="714" y="43"/>
                    </a:cubicBezTo>
                    <a:lnTo>
                      <a:pt x="715" y="59"/>
                    </a:lnTo>
                    <a:cubicBezTo>
                      <a:pt x="720" y="56"/>
                      <a:pt x="731" y="52"/>
                      <a:pt x="741" y="52"/>
                    </a:cubicBezTo>
                    <a:cubicBezTo>
                      <a:pt x="747" y="52"/>
                      <a:pt x="749" y="55"/>
                      <a:pt x="749" y="61"/>
                    </a:cubicBezTo>
                    <a:lnTo>
                      <a:pt x="749" y="69"/>
                    </a:lnTo>
                    <a:cubicBezTo>
                      <a:pt x="740" y="69"/>
                      <a:pt x="725" y="70"/>
                      <a:pt x="716" y="77"/>
                    </a:cubicBezTo>
                    <a:cubicBezTo>
                      <a:pt x="711" y="81"/>
                      <a:pt x="709" y="85"/>
                      <a:pt x="709" y="92"/>
                    </a:cubicBezTo>
                    <a:cubicBezTo>
                      <a:pt x="709" y="102"/>
                      <a:pt x="714" y="115"/>
                      <a:pt x="730" y="115"/>
                    </a:cubicBezTo>
                    <a:cubicBezTo>
                      <a:pt x="741" y="115"/>
                      <a:pt x="751" y="107"/>
                      <a:pt x="751" y="107"/>
                    </a:cubicBezTo>
                    <a:cubicBezTo>
                      <a:pt x="751" y="110"/>
                      <a:pt x="751" y="114"/>
                      <a:pt x="751" y="114"/>
                    </a:cubicBezTo>
                    <a:lnTo>
                      <a:pt x="771" y="114"/>
                    </a:lnTo>
                    <a:close/>
                    <a:moveTo>
                      <a:pt x="701" y="12"/>
                    </a:moveTo>
                    <a:lnTo>
                      <a:pt x="679" y="11"/>
                    </a:lnTo>
                    <a:lnTo>
                      <a:pt x="667" y="61"/>
                    </a:lnTo>
                    <a:cubicBezTo>
                      <a:pt x="665" y="68"/>
                      <a:pt x="663" y="83"/>
                      <a:pt x="662" y="86"/>
                    </a:cubicBezTo>
                    <a:cubicBezTo>
                      <a:pt x="662" y="83"/>
                      <a:pt x="659" y="68"/>
                      <a:pt x="658" y="61"/>
                    </a:cubicBezTo>
                    <a:lnTo>
                      <a:pt x="646" y="11"/>
                    </a:lnTo>
                    <a:lnTo>
                      <a:pt x="624" y="11"/>
                    </a:lnTo>
                    <a:lnTo>
                      <a:pt x="613" y="61"/>
                    </a:lnTo>
                    <a:cubicBezTo>
                      <a:pt x="611" y="68"/>
                      <a:pt x="609" y="82"/>
                      <a:pt x="608" y="85"/>
                    </a:cubicBezTo>
                    <a:cubicBezTo>
                      <a:pt x="608" y="82"/>
                      <a:pt x="605" y="68"/>
                      <a:pt x="604" y="61"/>
                    </a:cubicBezTo>
                    <a:lnTo>
                      <a:pt x="592" y="10"/>
                    </a:lnTo>
                    <a:lnTo>
                      <a:pt x="570" y="11"/>
                    </a:lnTo>
                    <a:lnTo>
                      <a:pt x="597" y="114"/>
                    </a:lnTo>
                    <a:lnTo>
                      <a:pt x="619" y="114"/>
                    </a:lnTo>
                    <a:lnTo>
                      <a:pt x="630" y="67"/>
                    </a:lnTo>
                    <a:cubicBezTo>
                      <a:pt x="631" y="59"/>
                      <a:pt x="635" y="40"/>
                      <a:pt x="635" y="40"/>
                    </a:cubicBezTo>
                    <a:cubicBezTo>
                      <a:pt x="635" y="40"/>
                      <a:pt x="638" y="59"/>
                      <a:pt x="640" y="67"/>
                    </a:cubicBezTo>
                    <a:lnTo>
                      <a:pt x="650" y="114"/>
                    </a:lnTo>
                    <a:lnTo>
                      <a:pt x="673" y="114"/>
                    </a:lnTo>
                    <a:lnTo>
                      <a:pt x="701" y="12"/>
                    </a:lnTo>
                    <a:close/>
                    <a:moveTo>
                      <a:pt x="537" y="104"/>
                    </a:moveTo>
                    <a:cubicBezTo>
                      <a:pt x="537" y="98"/>
                      <a:pt x="533" y="92"/>
                      <a:pt x="525" y="92"/>
                    </a:cubicBezTo>
                    <a:cubicBezTo>
                      <a:pt x="516" y="92"/>
                      <a:pt x="512" y="98"/>
                      <a:pt x="512" y="104"/>
                    </a:cubicBezTo>
                    <a:cubicBezTo>
                      <a:pt x="512" y="110"/>
                      <a:pt x="516" y="116"/>
                      <a:pt x="525" y="116"/>
                    </a:cubicBezTo>
                    <a:cubicBezTo>
                      <a:pt x="533" y="116"/>
                      <a:pt x="537" y="110"/>
                      <a:pt x="537" y="104"/>
                    </a:cubicBezTo>
                    <a:close/>
                    <a:moveTo>
                      <a:pt x="476" y="68"/>
                    </a:moveTo>
                    <a:lnTo>
                      <a:pt x="452" y="68"/>
                    </a:lnTo>
                    <a:cubicBezTo>
                      <a:pt x="452" y="62"/>
                      <a:pt x="454" y="51"/>
                      <a:pt x="464" y="51"/>
                    </a:cubicBezTo>
                    <a:cubicBezTo>
                      <a:pt x="474" y="51"/>
                      <a:pt x="476" y="62"/>
                      <a:pt x="476" y="68"/>
                    </a:cubicBezTo>
                    <a:moveTo>
                      <a:pt x="496" y="74"/>
                    </a:moveTo>
                    <a:cubicBezTo>
                      <a:pt x="496" y="56"/>
                      <a:pt x="489" y="36"/>
                      <a:pt x="464" y="36"/>
                    </a:cubicBezTo>
                    <a:cubicBezTo>
                      <a:pt x="441" y="36"/>
                      <a:pt x="431" y="56"/>
                      <a:pt x="431" y="76"/>
                    </a:cubicBezTo>
                    <a:cubicBezTo>
                      <a:pt x="431" y="90"/>
                      <a:pt x="435" y="115"/>
                      <a:pt x="462" y="115"/>
                    </a:cubicBezTo>
                    <a:cubicBezTo>
                      <a:pt x="483" y="115"/>
                      <a:pt x="495" y="108"/>
                      <a:pt x="495" y="108"/>
                    </a:cubicBezTo>
                    <a:lnTo>
                      <a:pt x="494" y="92"/>
                    </a:lnTo>
                    <a:cubicBezTo>
                      <a:pt x="494" y="92"/>
                      <a:pt x="480" y="100"/>
                      <a:pt x="466" y="100"/>
                    </a:cubicBezTo>
                    <a:cubicBezTo>
                      <a:pt x="457" y="100"/>
                      <a:pt x="452" y="94"/>
                      <a:pt x="452" y="80"/>
                    </a:cubicBezTo>
                    <a:lnTo>
                      <a:pt x="496" y="80"/>
                    </a:lnTo>
                    <a:cubicBezTo>
                      <a:pt x="496" y="80"/>
                      <a:pt x="496" y="76"/>
                      <a:pt x="496" y="74"/>
                    </a:cubicBezTo>
                    <a:moveTo>
                      <a:pt x="413" y="114"/>
                    </a:moveTo>
                    <a:lnTo>
                      <a:pt x="413" y="54"/>
                    </a:lnTo>
                    <a:cubicBezTo>
                      <a:pt x="413" y="48"/>
                      <a:pt x="412" y="38"/>
                      <a:pt x="412" y="38"/>
                    </a:cubicBezTo>
                    <a:lnTo>
                      <a:pt x="393" y="38"/>
                    </a:lnTo>
                    <a:lnTo>
                      <a:pt x="393" y="114"/>
                    </a:lnTo>
                    <a:lnTo>
                      <a:pt x="413" y="114"/>
                    </a:lnTo>
                    <a:close/>
                    <a:moveTo>
                      <a:pt x="416" y="12"/>
                    </a:moveTo>
                    <a:cubicBezTo>
                      <a:pt x="416" y="6"/>
                      <a:pt x="411" y="0"/>
                      <a:pt x="403" y="0"/>
                    </a:cubicBezTo>
                    <a:cubicBezTo>
                      <a:pt x="395" y="0"/>
                      <a:pt x="391" y="6"/>
                      <a:pt x="391" y="12"/>
                    </a:cubicBezTo>
                    <a:cubicBezTo>
                      <a:pt x="391" y="18"/>
                      <a:pt x="395" y="24"/>
                      <a:pt x="403" y="24"/>
                    </a:cubicBezTo>
                    <a:cubicBezTo>
                      <a:pt x="411" y="24"/>
                      <a:pt x="416" y="18"/>
                      <a:pt x="416" y="12"/>
                    </a:cubicBezTo>
                    <a:close/>
                    <a:moveTo>
                      <a:pt x="353" y="88"/>
                    </a:moveTo>
                    <a:cubicBezTo>
                      <a:pt x="347" y="95"/>
                      <a:pt x="341" y="97"/>
                      <a:pt x="337" y="97"/>
                    </a:cubicBezTo>
                    <a:cubicBezTo>
                      <a:pt x="328" y="97"/>
                      <a:pt x="326" y="83"/>
                      <a:pt x="326" y="75"/>
                    </a:cubicBezTo>
                    <a:cubicBezTo>
                      <a:pt x="326" y="66"/>
                      <a:pt x="327" y="53"/>
                      <a:pt x="339" y="53"/>
                    </a:cubicBezTo>
                    <a:cubicBezTo>
                      <a:pt x="343" y="53"/>
                      <a:pt x="347" y="54"/>
                      <a:pt x="353" y="57"/>
                    </a:cubicBezTo>
                    <a:lnTo>
                      <a:pt x="353" y="88"/>
                    </a:lnTo>
                    <a:close/>
                    <a:moveTo>
                      <a:pt x="375" y="38"/>
                    </a:moveTo>
                    <a:lnTo>
                      <a:pt x="355" y="38"/>
                    </a:lnTo>
                    <a:cubicBezTo>
                      <a:pt x="355" y="38"/>
                      <a:pt x="354" y="40"/>
                      <a:pt x="354" y="42"/>
                    </a:cubicBezTo>
                    <a:cubicBezTo>
                      <a:pt x="352" y="41"/>
                      <a:pt x="345" y="36"/>
                      <a:pt x="336" y="36"/>
                    </a:cubicBezTo>
                    <a:cubicBezTo>
                      <a:pt x="315" y="36"/>
                      <a:pt x="305" y="53"/>
                      <a:pt x="305" y="75"/>
                    </a:cubicBezTo>
                    <a:cubicBezTo>
                      <a:pt x="305" y="90"/>
                      <a:pt x="310" y="114"/>
                      <a:pt x="332" y="114"/>
                    </a:cubicBezTo>
                    <a:cubicBezTo>
                      <a:pt x="344" y="114"/>
                      <a:pt x="352" y="105"/>
                      <a:pt x="353" y="103"/>
                    </a:cubicBezTo>
                    <a:cubicBezTo>
                      <a:pt x="353" y="103"/>
                      <a:pt x="353" y="108"/>
                      <a:pt x="353" y="110"/>
                    </a:cubicBezTo>
                    <a:lnTo>
                      <a:pt x="353" y="115"/>
                    </a:lnTo>
                    <a:cubicBezTo>
                      <a:pt x="353" y="117"/>
                      <a:pt x="353" y="119"/>
                      <a:pt x="352" y="121"/>
                    </a:cubicBezTo>
                    <a:cubicBezTo>
                      <a:pt x="351" y="125"/>
                      <a:pt x="347" y="128"/>
                      <a:pt x="338" y="128"/>
                    </a:cubicBezTo>
                    <a:cubicBezTo>
                      <a:pt x="323" y="128"/>
                      <a:pt x="310" y="122"/>
                      <a:pt x="310" y="122"/>
                    </a:cubicBezTo>
                    <a:lnTo>
                      <a:pt x="309" y="140"/>
                    </a:lnTo>
                    <a:cubicBezTo>
                      <a:pt x="309" y="140"/>
                      <a:pt x="320" y="146"/>
                      <a:pt x="338" y="146"/>
                    </a:cubicBezTo>
                    <a:cubicBezTo>
                      <a:pt x="357" y="146"/>
                      <a:pt x="369" y="139"/>
                      <a:pt x="373" y="125"/>
                    </a:cubicBezTo>
                    <a:cubicBezTo>
                      <a:pt x="373" y="122"/>
                      <a:pt x="373" y="116"/>
                      <a:pt x="373" y="112"/>
                    </a:cubicBezTo>
                    <a:lnTo>
                      <a:pt x="373" y="56"/>
                    </a:lnTo>
                    <a:cubicBezTo>
                      <a:pt x="373" y="47"/>
                      <a:pt x="375" y="38"/>
                      <a:pt x="375" y="38"/>
                    </a:cubicBezTo>
                    <a:moveTo>
                      <a:pt x="294" y="38"/>
                    </a:moveTo>
                    <a:cubicBezTo>
                      <a:pt x="294" y="38"/>
                      <a:pt x="293" y="37"/>
                      <a:pt x="285" y="37"/>
                    </a:cubicBezTo>
                    <a:cubicBezTo>
                      <a:pt x="279" y="37"/>
                      <a:pt x="273" y="42"/>
                      <a:pt x="270" y="45"/>
                    </a:cubicBezTo>
                    <a:cubicBezTo>
                      <a:pt x="270" y="46"/>
                      <a:pt x="269" y="47"/>
                      <a:pt x="269" y="47"/>
                    </a:cubicBezTo>
                    <a:cubicBezTo>
                      <a:pt x="269" y="43"/>
                      <a:pt x="268" y="38"/>
                      <a:pt x="268" y="38"/>
                    </a:cubicBezTo>
                    <a:lnTo>
                      <a:pt x="248" y="38"/>
                    </a:lnTo>
                    <a:cubicBezTo>
                      <a:pt x="248" y="38"/>
                      <a:pt x="249" y="47"/>
                      <a:pt x="249" y="56"/>
                    </a:cubicBezTo>
                    <a:lnTo>
                      <a:pt x="249" y="114"/>
                    </a:lnTo>
                    <a:lnTo>
                      <a:pt x="270" y="114"/>
                    </a:lnTo>
                    <a:lnTo>
                      <a:pt x="270" y="60"/>
                    </a:lnTo>
                    <a:cubicBezTo>
                      <a:pt x="275" y="56"/>
                      <a:pt x="279" y="53"/>
                      <a:pt x="282" y="53"/>
                    </a:cubicBezTo>
                    <a:cubicBezTo>
                      <a:pt x="288" y="53"/>
                      <a:pt x="292" y="54"/>
                      <a:pt x="292" y="54"/>
                    </a:cubicBezTo>
                    <a:lnTo>
                      <a:pt x="294" y="38"/>
                    </a:lnTo>
                    <a:close/>
                    <a:moveTo>
                      <a:pt x="211" y="68"/>
                    </a:moveTo>
                    <a:lnTo>
                      <a:pt x="187" y="68"/>
                    </a:lnTo>
                    <a:cubicBezTo>
                      <a:pt x="187" y="62"/>
                      <a:pt x="189" y="51"/>
                      <a:pt x="198" y="51"/>
                    </a:cubicBezTo>
                    <a:cubicBezTo>
                      <a:pt x="209" y="51"/>
                      <a:pt x="211" y="62"/>
                      <a:pt x="211" y="68"/>
                    </a:cubicBezTo>
                    <a:moveTo>
                      <a:pt x="231" y="74"/>
                    </a:moveTo>
                    <a:cubicBezTo>
                      <a:pt x="231" y="56"/>
                      <a:pt x="224" y="36"/>
                      <a:pt x="198" y="36"/>
                    </a:cubicBezTo>
                    <a:cubicBezTo>
                      <a:pt x="176" y="36"/>
                      <a:pt x="165" y="56"/>
                      <a:pt x="165" y="76"/>
                    </a:cubicBezTo>
                    <a:cubicBezTo>
                      <a:pt x="165" y="90"/>
                      <a:pt x="170" y="115"/>
                      <a:pt x="197" y="115"/>
                    </a:cubicBezTo>
                    <a:cubicBezTo>
                      <a:pt x="218" y="115"/>
                      <a:pt x="230" y="108"/>
                      <a:pt x="230" y="108"/>
                    </a:cubicBezTo>
                    <a:lnTo>
                      <a:pt x="229" y="92"/>
                    </a:lnTo>
                    <a:cubicBezTo>
                      <a:pt x="229" y="92"/>
                      <a:pt x="214" y="100"/>
                      <a:pt x="200" y="100"/>
                    </a:cubicBezTo>
                    <a:cubicBezTo>
                      <a:pt x="191" y="100"/>
                      <a:pt x="187" y="94"/>
                      <a:pt x="187" y="80"/>
                    </a:cubicBezTo>
                    <a:lnTo>
                      <a:pt x="231" y="80"/>
                    </a:lnTo>
                    <a:cubicBezTo>
                      <a:pt x="231" y="80"/>
                      <a:pt x="231" y="76"/>
                      <a:pt x="231" y="74"/>
                    </a:cubicBezTo>
                    <a:moveTo>
                      <a:pt x="148" y="114"/>
                    </a:moveTo>
                    <a:lnTo>
                      <a:pt x="148" y="62"/>
                    </a:lnTo>
                    <a:cubicBezTo>
                      <a:pt x="148" y="55"/>
                      <a:pt x="147" y="49"/>
                      <a:pt x="144" y="45"/>
                    </a:cubicBezTo>
                    <a:cubicBezTo>
                      <a:pt x="141" y="39"/>
                      <a:pt x="135" y="36"/>
                      <a:pt x="126" y="36"/>
                    </a:cubicBezTo>
                    <a:cubicBezTo>
                      <a:pt x="115" y="36"/>
                      <a:pt x="104" y="45"/>
                      <a:pt x="101" y="48"/>
                    </a:cubicBezTo>
                    <a:cubicBezTo>
                      <a:pt x="101" y="43"/>
                      <a:pt x="101" y="38"/>
                      <a:pt x="101" y="38"/>
                    </a:cubicBezTo>
                    <a:lnTo>
                      <a:pt x="81" y="38"/>
                    </a:lnTo>
                    <a:cubicBezTo>
                      <a:pt x="81" y="38"/>
                      <a:pt x="82" y="47"/>
                      <a:pt x="82" y="56"/>
                    </a:cubicBezTo>
                    <a:lnTo>
                      <a:pt x="82" y="114"/>
                    </a:lnTo>
                    <a:lnTo>
                      <a:pt x="102" y="114"/>
                    </a:lnTo>
                    <a:lnTo>
                      <a:pt x="102" y="62"/>
                    </a:lnTo>
                    <a:cubicBezTo>
                      <a:pt x="105" y="59"/>
                      <a:pt x="112" y="54"/>
                      <a:pt x="119" y="54"/>
                    </a:cubicBezTo>
                    <a:cubicBezTo>
                      <a:pt x="124" y="54"/>
                      <a:pt x="128" y="55"/>
                      <a:pt x="128" y="64"/>
                    </a:cubicBezTo>
                    <a:lnTo>
                      <a:pt x="128" y="114"/>
                    </a:lnTo>
                    <a:lnTo>
                      <a:pt x="148" y="114"/>
                    </a:lnTo>
                    <a:close/>
                    <a:moveTo>
                      <a:pt x="66" y="114"/>
                    </a:moveTo>
                    <a:lnTo>
                      <a:pt x="66" y="96"/>
                    </a:lnTo>
                    <a:lnTo>
                      <a:pt x="21" y="96"/>
                    </a:lnTo>
                    <a:lnTo>
                      <a:pt x="21" y="69"/>
                    </a:lnTo>
                    <a:lnTo>
                      <a:pt x="57" y="69"/>
                    </a:lnTo>
                    <a:lnTo>
                      <a:pt x="57" y="52"/>
                    </a:lnTo>
                    <a:lnTo>
                      <a:pt x="21" y="52"/>
                    </a:lnTo>
                    <a:lnTo>
                      <a:pt x="21" y="29"/>
                    </a:lnTo>
                    <a:lnTo>
                      <a:pt x="62" y="29"/>
                    </a:lnTo>
                    <a:lnTo>
                      <a:pt x="64" y="11"/>
                    </a:lnTo>
                    <a:lnTo>
                      <a:pt x="0" y="11"/>
                    </a:lnTo>
                    <a:lnTo>
                      <a:pt x="0" y="114"/>
                    </a:lnTo>
                    <a:lnTo>
                      <a:pt x="66" y="114"/>
                    </a:lnTo>
                    <a:close/>
                  </a:path>
                </a:pathLst>
              </a:custGeom>
              <a:solidFill>
                <a:srgbClr val="57687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4" name="Freeform 39">
                <a:extLst>
                  <a:ext uri="{FF2B5EF4-FFF2-40B4-BE49-F238E27FC236}">
                    <a16:creationId xmlns:a16="http://schemas.microsoft.com/office/drawing/2014/main" id="{5F598DA8-679A-4759-BA95-A9F969FF5E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29374" y="990263"/>
                <a:ext cx="354012" cy="273050"/>
              </a:xfrm>
              <a:custGeom>
                <a:avLst/>
                <a:gdLst>
                  <a:gd name="T0" fmla="*/ 0 w 443"/>
                  <a:gd name="T1" fmla="*/ 0 h 341"/>
                  <a:gd name="T2" fmla="*/ 0 w 443"/>
                  <a:gd name="T3" fmla="*/ 217 h 341"/>
                  <a:gd name="T4" fmla="*/ 131 w 443"/>
                  <a:gd name="T5" fmla="*/ 341 h 341"/>
                  <a:gd name="T6" fmla="*/ 222 w 443"/>
                  <a:gd name="T7" fmla="*/ 300 h 341"/>
                  <a:gd name="T8" fmla="*/ 313 w 443"/>
                  <a:gd name="T9" fmla="*/ 341 h 341"/>
                  <a:gd name="T10" fmla="*/ 443 w 443"/>
                  <a:gd name="T11" fmla="*/ 217 h 341"/>
                  <a:gd name="T12" fmla="*/ 443 w 443"/>
                  <a:gd name="T13" fmla="*/ 0 h 341"/>
                  <a:gd name="T14" fmla="*/ 365 w 443"/>
                  <a:gd name="T15" fmla="*/ 0 h 341"/>
                  <a:gd name="T16" fmla="*/ 365 w 443"/>
                  <a:gd name="T17" fmla="*/ 219 h 341"/>
                  <a:gd name="T18" fmla="*/ 313 w 443"/>
                  <a:gd name="T19" fmla="*/ 268 h 341"/>
                  <a:gd name="T20" fmla="*/ 261 w 443"/>
                  <a:gd name="T21" fmla="*/ 219 h 341"/>
                  <a:gd name="T22" fmla="*/ 261 w 443"/>
                  <a:gd name="T23" fmla="*/ 0 h 341"/>
                  <a:gd name="T24" fmla="*/ 183 w 443"/>
                  <a:gd name="T25" fmla="*/ 0 h 341"/>
                  <a:gd name="T26" fmla="*/ 183 w 443"/>
                  <a:gd name="T27" fmla="*/ 219 h 341"/>
                  <a:gd name="T28" fmla="*/ 131 w 443"/>
                  <a:gd name="T29" fmla="*/ 268 h 341"/>
                  <a:gd name="T30" fmla="*/ 79 w 443"/>
                  <a:gd name="T31" fmla="*/ 219 h 341"/>
                  <a:gd name="T32" fmla="*/ 79 w 443"/>
                  <a:gd name="T33" fmla="*/ 0 h 341"/>
                  <a:gd name="T34" fmla="*/ 0 w 443"/>
                  <a:gd name="T35" fmla="*/ 0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3" h="341">
                    <a:moveTo>
                      <a:pt x="0" y="0"/>
                    </a:moveTo>
                    <a:lnTo>
                      <a:pt x="0" y="217"/>
                    </a:lnTo>
                    <a:cubicBezTo>
                      <a:pt x="0" y="285"/>
                      <a:pt x="59" y="341"/>
                      <a:pt x="131" y="341"/>
                    </a:cubicBezTo>
                    <a:cubicBezTo>
                      <a:pt x="165" y="341"/>
                      <a:pt x="205" y="322"/>
                      <a:pt x="222" y="300"/>
                    </a:cubicBezTo>
                    <a:cubicBezTo>
                      <a:pt x="239" y="322"/>
                      <a:pt x="279" y="341"/>
                      <a:pt x="313" y="341"/>
                    </a:cubicBezTo>
                    <a:cubicBezTo>
                      <a:pt x="385" y="341"/>
                      <a:pt x="443" y="285"/>
                      <a:pt x="443" y="217"/>
                    </a:cubicBezTo>
                    <a:lnTo>
                      <a:pt x="443" y="0"/>
                    </a:lnTo>
                    <a:lnTo>
                      <a:pt x="365" y="0"/>
                    </a:lnTo>
                    <a:lnTo>
                      <a:pt x="365" y="219"/>
                    </a:lnTo>
                    <a:cubicBezTo>
                      <a:pt x="365" y="246"/>
                      <a:pt x="342" y="268"/>
                      <a:pt x="313" y="268"/>
                    </a:cubicBezTo>
                    <a:cubicBezTo>
                      <a:pt x="285" y="268"/>
                      <a:pt x="261" y="246"/>
                      <a:pt x="261" y="219"/>
                    </a:cubicBezTo>
                    <a:lnTo>
                      <a:pt x="261" y="0"/>
                    </a:lnTo>
                    <a:lnTo>
                      <a:pt x="183" y="0"/>
                    </a:lnTo>
                    <a:lnTo>
                      <a:pt x="183" y="219"/>
                    </a:lnTo>
                    <a:cubicBezTo>
                      <a:pt x="183" y="246"/>
                      <a:pt x="159" y="268"/>
                      <a:pt x="131" y="268"/>
                    </a:cubicBezTo>
                    <a:cubicBezTo>
                      <a:pt x="102" y="268"/>
                      <a:pt x="79" y="246"/>
                      <a:pt x="79" y="219"/>
                    </a:cubicBez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5" name="Freeform 40">
                <a:extLst>
                  <a:ext uri="{FF2B5EF4-FFF2-40B4-BE49-F238E27FC236}">
                    <a16:creationId xmlns:a16="http://schemas.microsoft.com/office/drawing/2014/main" id="{57BDC298-F3D1-4543-AFF4-AC01EDDB62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30924" y="982325"/>
                <a:ext cx="276225" cy="277813"/>
              </a:xfrm>
              <a:custGeom>
                <a:avLst/>
                <a:gdLst>
                  <a:gd name="T0" fmla="*/ 345 w 347"/>
                  <a:gd name="T1" fmla="*/ 199 h 348"/>
                  <a:gd name="T2" fmla="*/ 347 w 347"/>
                  <a:gd name="T3" fmla="*/ 174 h 348"/>
                  <a:gd name="T4" fmla="*/ 174 w 347"/>
                  <a:gd name="T5" fmla="*/ 0 h 348"/>
                  <a:gd name="T6" fmla="*/ 0 w 347"/>
                  <a:gd name="T7" fmla="*/ 174 h 348"/>
                  <a:gd name="T8" fmla="*/ 174 w 347"/>
                  <a:gd name="T9" fmla="*/ 348 h 348"/>
                  <a:gd name="T10" fmla="*/ 336 w 347"/>
                  <a:gd name="T11" fmla="*/ 237 h 348"/>
                  <a:gd name="T12" fmla="*/ 254 w 347"/>
                  <a:gd name="T13" fmla="*/ 237 h 348"/>
                  <a:gd name="T14" fmla="*/ 174 w 347"/>
                  <a:gd name="T15" fmla="*/ 276 h 348"/>
                  <a:gd name="T16" fmla="*/ 71 w 347"/>
                  <a:gd name="T17" fmla="*/ 174 h 348"/>
                  <a:gd name="T18" fmla="*/ 174 w 347"/>
                  <a:gd name="T19" fmla="*/ 71 h 348"/>
                  <a:gd name="T20" fmla="*/ 265 w 347"/>
                  <a:gd name="T21" fmla="*/ 128 h 348"/>
                  <a:gd name="T22" fmla="*/ 141 w 347"/>
                  <a:gd name="T23" fmla="*/ 128 h 348"/>
                  <a:gd name="T24" fmla="*/ 141 w 347"/>
                  <a:gd name="T25" fmla="*/ 199 h 348"/>
                  <a:gd name="T26" fmla="*/ 345 w 347"/>
                  <a:gd name="T27" fmla="*/ 199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7" h="348">
                    <a:moveTo>
                      <a:pt x="345" y="199"/>
                    </a:moveTo>
                    <a:cubicBezTo>
                      <a:pt x="347" y="191"/>
                      <a:pt x="347" y="183"/>
                      <a:pt x="347" y="174"/>
                    </a:cubicBezTo>
                    <a:cubicBezTo>
                      <a:pt x="347" y="78"/>
                      <a:pt x="270" y="0"/>
                      <a:pt x="174" y="0"/>
                    </a:cubicBezTo>
                    <a:cubicBezTo>
                      <a:pt x="78" y="0"/>
                      <a:pt x="0" y="78"/>
                      <a:pt x="0" y="174"/>
                    </a:cubicBezTo>
                    <a:cubicBezTo>
                      <a:pt x="0" y="270"/>
                      <a:pt x="78" y="348"/>
                      <a:pt x="174" y="348"/>
                    </a:cubicBezTo>
                    <a:cubicBezTo>
                      <a:pt x="248" y="348"/>
                      <a:pt x="310" y="301"/>
                      <a:pt x="336" y="237"/>
                    </a:cubicBezTo>
                    <a:lnTo>
                      <a:pt x="254" y="237"/>
                    </a:lnTo>
                    <a:cubicBezTo>
                      <a:pt x="235" y="260"/>
                      <a:pt x="206" y="276"/>
                      <a:pt x="174" y="276"/>
                    </a:cubicBezTo>
                    <a:cubicBezTo>
                      <a:pt x="117" y="276"/>
                      <a:pt x="71" y="230"/>
                      <a:pt x="71" y="174"/>
                    </a:cubicBezTo>
                    <a:cubicBezTo>
                      <a:pt x="71" y="117"/>
                      <a:pt x="117" y="71"/>
                      <a:pt x="174" y="71"/>
                    </a:cubicBezTo>
                    <a:cubicBezTo>
                      <a:pt x="214" y="71"/>
                      <a:pt x="248" y="95"/>
                      <a:pt x="265" y="128"/>
                    </a:cubicBezTo>
                    <a:lnTo>
                      <a:pt x="141" y="128"/>
                    </a:lnTo>
                    <a:lnTo>
                      <a:pt x="141" y="199"/>
                    </a:lnTo>
                    <a:lnTo>
                      <a:pt x="345" y="199"/>
                    </a:ln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6" name="Freeform 41">
                <a:extLst>
                  <a:ext uri="{FF2B5EF4-FFF2-40B4-BE49-F238E27FC236}">
                    <a16:creationId xmlns:a16="http://schemas.microsoft.com/office/drawing/2014/main" id="{7A9A748A-CB83-4144-8F00-BC54166F02B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34061" y="868025"/>
                <a:ext cx="276225" cy="395288"/>
              </a:xfrm>
              <a:custGeom>
                <a:avLst/>
                <a:gdLst>
                  <a:gd name="T0" fmla="*/ 273 w 347"/>
                  <a:gd name="T1" fmla="*/ 0 h 496"/>
                  <a:gd name="T2" fmla="*/ 273 w 347"/>
                  <a:gd name="T3" fmla="*/ 184 h 496"/>
                  <a:gd name="T4" fmla="*/ 173 w 347"/>
                  <a:gd name="T5" fmla="*/ 150 h 496"/>
                  <a:gd name="T6" fmla="*/ 0 w 347"/>
                  <a:gd name="T7" fmla="*/ 323 h 496"/>
                  <a:gd name="T8" fmla="*/ 173 w 347"/>
                  <a:gd name="T9" fmla="*/ 496 h 496"/>
                  <a:gd name="T10" fmla="*/ 273 w 347"/>
                  <a:gd name="T11" fmla="*/ 463 h 496"/>
                  <a:gd name="T12" fmla="*/ 273 w 347"/>
                  <a:gd name="T13" fmla="*/ 492 h 496"/>
                  <a:gd name="T14" fmla="*/ 347 w 347"/>
                  <a:gd name="T15" fmla="*/ 492 h 496"/>
                  <a:gd name="T16" fmla="*/ 347 w 347"/>
                  <a:gd name="T17" fmla="*/ 0 h 496"/>
                  <a:gd name="T18" fmla="*/ 273 w 347"/>
                  <a:gd name="T19" fmla="*/ 0 h 496"/>
                  <a:gd name="T20" fmla="*/ 196 w 347"/>
                  <a:gd name="T21" fmla="*/ 421 h 496"/>
                  <a:gd name="T22" fmla="*/ 173 w 347"/>
                  <a:gd name="T23" fmla="*/ 425 h 496"/>
                  <a:gd name="T24" fmla="*/ 134 w 347"/>
                  <a:gd name="T25" fmla="*/ 416 h 496"/>
                  <a:gd name="T26" fmla="*/ 71 w 347"/>
                  <a:gd name="T27" fmla="*/ 321 h 496"/>
                  <a:gd name="T28" fmla="*/ 173 w 347"/>
                  <a:gd name="T29" fmla="*/ 219 h 496"/>
                  <a:gd name="T30" fmla="*/ 276 w 347"/>
                  <a:gd name="T31" fmla="*/ 321 h 496"/>
                  <a:gd name="T32" fmla="*/ 196 w 347"/>
                  <a:gd name="T33" fmla="*/ 421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7" h="496">
                    <a:moveTo>
                      <a:pt x="273" y="0"/>
                    </a:moveTo>
                    <a:lnTo>
                      <a:pt x="273" y="184"/>
                    </a:lnTo>
                    <a:cubicBezTo>
                      <a:pt x="245" y="163"/>
                      <a:pt x="211" y="150"/>
                      <a:pt x="173" y="150"/>
                    </a:cubicBezTo>
                    <a:cubicBezTo>
                      <a:pt x="77" y="150"/>
                      <a:pt x="0" y="227"/>
                      <a:pt x="0" y="323"/>
                    </a:cubicBezTo>
                    <a:cubicBezTo>
                      <a:pt x="0" y="418"/>
                      <a:pt x="77" y="496"/>
                      <a:pt x="173" y="496"/>
                    </a:cubicBezTo>
                    <a:cubicBezTo>
                      <a:pt x="211" y="496"/>
                      <a:pt x="245" y="484"/>
                      <a:pt x="273" y="463"/>
                    </a:cubicBezTo>
                    <a:lnTo>
                      <a:pt x="273" y="492"/>
                    </a:lnTo>
                    <a:lnTo>
                      <a:pt x="347" y="492"/>
                    </a:lnTo>
                    <a:lnTo>
                      <a:pt x="347" y="0"/>
                    </a:lnTo>
                    <a:lnTo>
                      <a:pt x="273" y="0"/>
                    </a:lnTo>
                    <a:close/>
                    <a:moveTo>
                      <a:pt x="196" y="421"/>
                    </a:moveTo>
                    <a:cubicBezTo>
                      <a:pt x="189" y="423"/>
                      <a:pt x="181" y="425"/>
                      <a:pt x="173" y="425"/>
                    </a:cubicBezTo>
                    <a:cubicBezTo>
                      <a:pt x="159" y="425"/>
                      <a:pt x="146" y="421"/>
                      <a:pt x="134" y="416"/>
                    </a:cubicBezTo>
                    <a:cubicBezTo>
                      <a:pt x="97" y="401"/>
                      <a:pt x="71" y="364"/>
                      <a:pt x="71" y="321"/>
                    </a:cubicBezTo>
                    <a:cubicBezTo>
                      <a:pt x="71" y="265"/>
                      <a:pt x="117" y="219"/>
                      <a:pt x="173" y="219"/>
                    </a:cubicBezTo>
                    <a:cubicBezTo>
                      <a:pt x="230" y="219"/>
                      <a:pt x="276" y="265"/>
                      <a:pt x="276" y="321"/>
                    </a:cubicBezTo>
                    <a:cubicBezTo>
                      <a:pt x="276" y="370"/>
                      <a:pt x="242" y="411"/>
                      <a:pt x="196" y="421"/>
                    </a:cubicBez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47" name="Freeform 42">
                <a:extLst>
                  <a:ext uri="{FF2B5EF4-FFF2-40B4-BE49-F238E27FC236}">
                    <a16:creationId xmlns:a16="http://schemas.microsoft.com/office/drawing/2014/main" id="{6CB0F4B4-6126-44F3-9253-1B13F4FFCE2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868025"/>
                <a:ext cx="277812" cy="395288"/>
              </a:xfrm>
              <a:custGeom>
                <a:avLst/>
                <a:gdLst>
                  <a:gd name="T0" fmla="*/ 175 w 348"/>
                  <a:gd name="T1" fmla="*/ 150 h 496"/>
                  <a:gd name="T2" fmla="*/ 75 w 348"/>
                  <a:gd name="T3" fmla="*/ 184 h 496"/>
                  <a:gd name="T4" fmla="*/ 75 w 348"/>
                  <a:gd name="T5" fmla="*/ 0 h 496"/>
                  <a:gd name="T6" fmla="*/ 0 w 348"/>
                  <a:gd name="T7" fmla="*/ 0 h 496"/>
                  <a:gd name="T8" fmla="*/ 0 w 348"/>
                  <a:gd name="T9" fmla="*/ 492 h 496"/>
                  <a:gd name="T10" fmla="*/ 75 w 348"/>
                  <a:gd name="T11" fmla="*/ 492 h 496"/>
                  <a:gd name="T12" fmla="*/ 75 w 348"/>
                  <a:gd name="T13" fmla="*/ 463 h 496"/>
                  <a:gd name="T14" fmla="*/ 175 w 348"/>
                  <a:gd name="T15" fmla="*/ 496 h 496"/>
                  <a:gd name="T16" fmla="*/ 348 w 348"/>
                  <a:gd name="T17" fmla="*/ 323 h 496"/>
                  <a:gd name="T18" fmla="*/ 175 w 348"/>
                  <a:gd name="T19" fmla="*/ 150 h 496"/>
                  <a:gd name="T20" fmla="*/ 214 w 348"/>
                  <a:gd name="T21" fmla="*/ 416 h 496"/>
                  <a:gd name="T22" fmla="*/ 175 w 348"/>
                  <a:gd name="T23" fmla="*/ 425 h 496"/>
                  <a:gd name="T24" fmla="*/ 152 w 348"/>
                  <a:gd name="T25" fmla="*/ 421 h 496"/>
                  <a:gd name="T26" fmla="*/ 72 w 348"/>
                  <a:gd name="T27" fmla="*/ 321 h 496"/>
                  <a:gd name="T28" fmla="*/ 175 w 348"/>
                  <a:gd name="T29" fmla="*/ 219 h 496"/>
                  <a:gd name="T30" fmla="*/ 277 w 348"/>
                  <a:gd name="T31" fmla="*/ 321 h 496"/>
                  <a:gd name="T32" fmla="*/ 214 w 348"/>
                  <a:gd name="T33" fmla="*/ 41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8" h="496">
                    <a:moveTo>
                      <a:pt x="175" y="150"/>
                    </a:moveTo>
                    <a:cubicBezTo>
                      <a:pt x="137" y="150"/>
                      <a:pt x="103" y="163"/>
                      <a:pt x="75" y="184"/>
                    </a:cubicBezTo>
                    <a:lnTo>
                      <a:pt x="75" y="0"/>
                    </a:lnTo>
                    <a:lnTo>
                      <a:pt x="0" y="0"/>
                    </a:lnTo>
                    <a:lnTo>
                      <a:pt x="0" y="492"/>
                    </a:lnTo>
                    <a:lnTo>
                      <a:pt x="75" y="492"/>
                    </a:lnTo>
                    <a:lnTo>
                      <a:pt x="75" y="463"/>
                    </a:lnTo>
                    <a:cubicBezTo>
                      <a:pt x="103" y="484"/>
                      <a:pt x="137" y="496"/>
                      <a:pt x="175" y="496"/>
                    </a:cubicBezTo>
                    <a:cubicBezTo>
                      <a:pt x="271" y="496"/>
                      <a:pt x="348" y="418"/>
                      <a:pt x="348" y="323"/>
                    </a:cubicBezTo>
                    <a:cubicBezTo>
                      <a:pt x="348" y="227"/>
                      <a:pt x="271" y="150"/>
                      <a:pt x="175" y="150"/>
                    </a:cubicBezTo>
                    <a:close/>
                    <a:moveTo>
                      <a:pt x="214" y="416"/>
                    </a:moveTo>
                    <a:cubicBezTo>
                      <a:pt x="202" y="421"/>
                      <a:pt x="189" y="425"/>
                      <a:pt x="175" y="425"/>
                    </a:cubicBezTo>
                    <a:cubicBezTo>
                      <a:pt x="167" y="425"/>
                      <a:pt x="159" y="423"/>
                      <a:pt x="152" y="421"/>
                    </a:cubicBezTo>
                    <a:cubicBezTo>
                      <a:pt x="106" y="411"/>
                      <a:pt x="72" y="370"/>
                      <a:pt x="72" y="321"/>
                    </a:cubicBezTo>
                    <a:cubicBezTo>
                      <a:pt x="72" y="265"/>
                      <a:pt x="118" y="219"/>
                      <a:pt x="175" y="219"/>
                    </a:cubicBezTo>
                    <a:cubicBezTo>
                      <a:pt x="231" y="219"/>
                      <a:pt x="277" y="265"/>
                      <a:pt x="277" y="321"/>
                    </a:cubicBezTo>
                    <a:cubicBezTo>
                      <a:pt x="277" y="364"/>
                      <a:pt x="251" y="401"/>
                      <a:pt x="214" y="416"/>
                    </a:cubicBez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502D4EF0-E044-4CD0-A1C7-709DB965122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223200" cy="3024435"/>
          </a:xfrm>
          <a:custGeom>
            <a:avLst/>
            <a:gdLst>
              <a:gd name="connsiteX0" fmla="*/ 143344 w 9223200"/>
              <a:gd name="connsiteY0" fmla="*/ 3024000 h 3024435"/>
              <a:gd name="connsiteX1" fmla="*/ 157756 w 9223200"/>
              <a:gd name="connsiteY1" fmla="*/ 3024000 h 3024435"/>
              <a:gd name="connsiteX2" fmla="*/ 157756 w 9223200"/>
              <a:gd name="connsiteY2" fmla="*/ 3024435 h 3024435"/>
              <a:gd name="connsiteX3" fmla="*/ 143344 w 9223200"/>
              <a:gd name="connsiteY3" fmla="*/ 3024435 h 3024435"/>
              <a:gd name="connsiteX4" fmla="*/ 9071197 w 9223200"/>
              <a:gd name="connsiteY4" fmla="*/ 1944379 h 3024435"/>
              <a:gd name="connsiteX5" fmla="*/ 9073032 w 9223200"/>
              <a:gd name="connsiteY5" fmla="*/ 1944379 h 3024435"/>
              <a:gd name="connsiteX6" fmla="*/ 9073032 w 9223200"/>
              <a:gd name="connsiteY6" fmla="*/ 2520379 h 3024435"/>
              <a:gd name="connsiteX7" fmla="*/ 9071197 w 9223200"/>
              <a:gd name="connsiteY7" fmla="*/ 2520379 h 3024435"/>
              <a:gd name="connsiteX8" fmla="*/ 9071197 w 9223200"/>
              <a:gd name="connsiteY8" fmla="*/ 1800000 h 3024435"/>
              <a:gd name="connsiteX9" fmla="*/ 9078864 w 9223200"/>
              <a:gd name="connsiteY9" fmla="*/ 1800000 h 3024435"/>
              <a:gd name="connsiteX10" fmla="*/ 9078864 w 9223200"/>
              <a:gd name="connsiteY10" fmla="*/ 1800263 h 3024435"/>
              <a:gd name="connsiteX11" fmla="*/ 9071197 w 9223200"/>
              <a:gd name="connsiteY11" fmla="*/ 1800263 h 3024435"/>
              <a:gd name="connsiteX12" fmla="*/ 157481 w 9223200"/>
              <a:gd name="connsiteY12" fmla="*/ 144435 h 3024435"/>
              <a:gd name="connsiteX13" fmla="*/ 157756 w 9223200"/>
              <a:gd name="connsiteY13" fmla="*/ 144435 h 3024435"/>
              <a:gd name="connsiteX14" fmla="*/ 157756 w 9223200"/>
              <a:gd name="connsiteY14" fmla="*/ 158400 h 3024435"/>
              <a:gd name="connsiteX15" fmla="*/ 157481 w 9223200"/>
              <a:gd name="connsiteY15" fmla="*/ 158400 h 3024435"/>
              <a:gd name="connsiteX16" fmla="*/ 9065444 w 9223200"/>
              <a:gd name="connsiteY16" fmla="*/ 144115 h 3024435"/>
              <a:gd name="connsiteX17" fmla="*/ 9065444 w 9223200"/>
              <a:gd name="connsiteY17" fmla="*/ 576115 h 3024435"/>
              <a:gd name="connsiteX18" fmla="*/ 9079856 w 9223200"/>
              <a:gd name="connsiteY18" fmla="*/ 576115 h 3024435"/>
              <a:gd name="connsiteX19" fmla="*/ 9079856 w 9223200"/>
              <a:gd name="connsiteY19" fmla="*/ 144115 h 3024435"/>
              <a:gd name="connsiteX20" fmla="*/ 0 w 9223200"/>
              <a:gd name="connsiteY20" fmla="*/ 0 h 3024435"/>
              <a:gd name="connsiteX21" fmla="*/ 9223200 w 9223200"/>
              <a:gd name="connsiteY21" fmla="*/ 0 h 3024435"/>
              <a:gd name="connsiteX22" fmla="*/ 9223200 w 9223200"/>
              <a:gd name="connsiteY22" fmla="*/ 3024000 h 3024435"/>
              <a:gd name="connsiteX23" fmla="*/ 9085609 w 9223200"/>
              <a:gd name="connsiteY23" fmla="*/ 3024000 h 3024435"/>
              <a:gd name="connsiteX24" fmla="*/ 9085609 w 9223200"/>
              <a:gd name="connsiteY24" fmla="*/ 1800000 h 3024435"/>
              <a:gd name="connsiteX25" fmla="*/ 9078864 w 9223200"/>
              <a:gd name="connsiteY25" fmla="*/ 1800000 h 3024435"/>
              <a:gd name="connsiteX26" fmla="*/ 9078864 w 9223200"/>
              <a:gd name="connsiteY26" fmla="*/ 576263 h 3024435"/>
              <a:gd name="connsiteX27" fmla="*/ 7277122 w 9223200"/>
              <a:gd name="connsiteY27" fmla="*/ 576263 h 3024435"/>
              <a:gd name="connsiteX28" fmla="*/ 7277122 w 9223200"/>
              <a:gd name="connsiteY28" fmla="*/ 1800263 h 3024435"/>
              <a:gd name="connsiteX29" fmla="*/ 9071197 w 9223200"/>
              <a:gd name="connsiteY29" fmla="*/ 1800263 h 3024435"/>
              <a:gd name="connsiteX30" fmla="*/ 9071197 w 9223200"/>
              <a:gd name="connsiteY30" fmla="*/ 1944379 h 3024435"/>
              <a:gd name="connsiteX31" fmla="*/ 7273850 w 9223200"/>
              <a:gd name="connsiteY31" fmla="*/ 1944379 h 3024435"/>
              <a:gd name="connsiteX32" fmla="*/ 7273850 w 9223200"/>
              <a:gd name="connsiteY32" fmla="*/ 2520379 h 3024435"/>
              <a:gd name="connsiteX33" fmla="*/ 9071197 w 9223200"/>
              <a:gd name="connsiteY33" fmla="*/ 2520379 h 3024435"/>
              <a:gd name="connsiteX34" fmla="*/ 9071197 w 9223200"/>
              <a:gd name="connsiteY34" fmla="*/ 3024000 h 3024435"/>
              <a:gd name="connsiteX35" fmla="*/ 157756 w 9223200"/>
              <a:gd name="connsiteY35" fmla="*/ 3024000 h 3024435"/>
              <a:gd name="connsiteX36" fmla="*/ 157756 w 9223200"/>
              <a:gd name="connsiteY36" fmla="*/ 158400 h 3024435"/>
              <a:gd name="connsiteX37" fmla="*/ 9064176 w 9223200"/>
              <a:gd name="connsiteY37" fmla="*/ 158400 h 3024435"/>
              <a:gd name="connsiteX38" fmla="*/ 9064176 w 9223200"/>
              <a:gd name="connsiteY38" fmla="*/ 144000 h 3024435"/>
              <a:gd name="connsiteX39" fmla="*/ 157481 w 9223200"/>
              <a:gd name="connsiteY39" fmla="*/ 144000 h 3024435"/>
              <a:gd name="connsiteX40" fmla="*/ 157481 w 9223200"/>
              <a:gd name="connsiteY40" fmla="*/ 144435 h 3024435"/>
              <a:gd name="connsiteX41" fmla="*/ 143344 w 9223200"/>
              <a:gd name="connsiteY41" fmla="*/ 144435 h 3024435"/>
              <a:gd name="connsiteX42" fmla="*/ 143344 w 9223200"/>
              <a:gd name="connsiteY42" fmla="*/ 3024000 h 3024435"/>
              <a:gd name="connsiteX43" fmla="*/ 0 w 9223200"/>
              <a:gd name="connsiteY43" fmla="*/ 3024000 h 3024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9223200" h="3024435">
                <a:moveTo>
                  <a:pt x="143344" y="3024000"/>
                </a:moveTo>
                <a:lnTo>
                  <a:pt x="157756" y="3024000"/>
                </a:lnTo>
                <a:lnTo>
                  <a:pt x="157756" y="3024435"/>
                </a:lnTo>
                <a:lnTo>
                  <a:pt x="143344" y="3024435"/>
                </a:lnTo>
                <a:close/>
                <a:moveTo>
                  <a:pt x="9071197" y="1944379"/>
                </a:moveTo>
                <a:lnTo>
                  <a:pt x="9073032" y="1944379"/>
                </a:lnTo>
                <a:lnTo>
                  <a:pt x="9073032" y="2520379"/>
                </a:lnTo>
                <a:lnTo>
                  <a:pt x="9071197" y="2520379"/>
                </a:lnTo>
                <a:close/>
                <a:moveTo>
                  <a:pt x="9071197" y="1800000"/>
                </a:moveTo>
                <a:lnTo>
                  <a:pt x="9078864" y="1800000"/>
                </a:lnTo>
                <a:lnTo>
                  <a:pt x="9078864" y="1800263"/>
                </a:lnTo>
                <a:lnTo>
                  <a:pt x="9071197" y="1800263"/>
                </a:lnTo>
                <a:close/>
                <a:moveTo>
                  <a:pt x="157481" y="144435"/>
                </a:moveTo>
                <a:lnTo>
                  <a:pt x="157756" y="144435"/>
                </a:lnTo>
                <a:lnTo>
                  <a:pt x="157756" y="158400"/>
                </a:lnTo>
                <a:lnTo>
                  <a:pt x="157481" y="158400"/>
                </a:lnTo>
                <a:close/>
                <a:moveTo>
                  <a:pt x="9065444" y="144115"/>
                </a:moveTo>
                <a:lnTo>
                  <a:pt x="9065444" y="576115"/>
                </a:lnTo>
                <a:lnTo>
                  <a:pt x="9079856" y="576115"/>
                </a:lnTo>
                <a:lnTo>
                  <a:pt x="9079856" y="144115"/>
                </a:lnTo>
                <a:close/>
                <a:moveTo>
                  <a:pt x="0" y="0"/>
                </a:moveTo>
                <a:lnTo>
                  <a:pt x="9223200" y="0"/>
                </a:lnTo>
                <a:lnTo>
                  <a:pt x="9223200" y="3024000"/>
                </a:lnTo>
                <a:lnTo>
                  <a:pt x="9085609" y="3024000"/>
                </a:lnTo>
                <a:lnTo>
                  <a:pt x="9085609" y="1800000"/>
                </a:lnTo>
                <a:lnTo>
                  <a:pt x="9078864" y="1800000"/>
                </a:lnTo>
                <a:lnTo>
                  <a:pt x="9078864" y="576263"/>
                </a:lnTo>
                <a:lnTo>
                  <a:pt x="7277122" y="576263"/>
                </a:lnTo>
                <a:lnTo>
                  <a:pt x="7277122" y="1800263"/>
                </a:lnTo>
                <a:lnTo>
                  <a:pt x="9071197" y="1800263"/>
                </a:lnTo>
                <a:lnTo>
                  <a:pt x="9071197" y="1944379"/>
                </a:lnTo>
                <a:lnTo>
                  <a:pt x="7273850" y="1944379"/>
                </a:lnTo>
                <a:lnTo>
                  <a:pt x="7273850" y="2520379"/>
                </a:lnTo>
                <a:lnTo>
                  <a:pt x="9071197" y="2520379"/>
                </a:lnTo>
                <a:lnTo>
                  <a:pt x="9071197" y="3024000"/>
                </a:lnTo>
                <a:lnTo>
                  <a:pt x="157756" y="3024000"/>
                </a:lnTo>
                <a:lnTo>
                  <a:pt x="157756" y="158400"/>
                </a:lnTo>
                <a:lnTo>
                  <a:pt x="9064176" y="158400"/>
                </a:lnTo>
                <a:lnTo>
                  <a:pt x="9064176" y="144000"/>
                </a:lnTo>
                <a:lnTo>
                  <a:pt x="157481" y="144000"/>
                </a:lnTo>
                <a:lnTo>
                  <a:pt x="157481" y="144435"/>
                </a:lnTo>
                <a:lnTo>
                  <a:pt x="143344" y="144435"/>
                </a:lnTo>
                <a:lnTo>
                  <a:pt x="143344" y="3024000"/>
                </a:lnTo>
                <a:lnTo>
                  <a:pt x="0" y="3024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432000" tIns="32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80B651-FA77-43FF-A552-95A5EF8C9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256" y="3528531"/>
            <a:ext cx="6911579" cy="360000"/>
          </a:xfrm>
        </p:spPr>
        <p:txBody>
          <a:bodyPr wrap="none" lIns="0" tIns="0" rIns="0" bIns="0" anchor="b">
            <a:noAutofit/>
          </a:bodyPr>
          <a:lstStyle>
            <a:lvl1pPr algn="l">
              <a:lnSpc>
                <a:spcPct val="100000"/>
              </a:lnSpc>
              <a:defRPr sz="26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2047FA1-05E6-4914-9E1F-9171B3BD67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256" y="4032611"/>
            <a:ext cx="6911579" cy="576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345578" indent="0" algn="ctr">
              <a:buNone/>
              <a:defRPr sz="1512"/>
            </a:lvl2pPr>
            <a:lvl3pPr marL="691157" indent="0" algn="ctr">
              <a:buNone/>
              <a:defRPr sz="1360"/>
            </a:lvl3pPr>
            <a:lvl4pPr marL="1036735" indent="0" algn="ctr">
              <a:buNone/>
              <a:defRPr sz="1209"/>
            </a:lvl4pPr>
            <a:lvl5pPr marL="1382316" indent="0" algn="ctr">
              <a:buNone/>
              <a:defRPr sz="1209"/>
            </a:lvl5pPr>
            <a:lvl6pPr marL="1727893" indent="0" algn="ctr">
              <a:buNone/>
              <a:defRPr sz="1209"/>
            </a:lvl6pPr>
            <a:lvl7pPr marL="2073473" indent="0" algn="ctr">
              <a:buNone/>
              <a:defRPr sz="1209"/>
            </a:lvl7pPr>
            <a:lvl8pPr marL="2419051" indent="0" algn="ctr">
              <a:buNone/>
              <a:defRPr sz="1209"/>
            </a:lvl8pPr>
            <a:lvl9pPr marL="2764630" indent="0" algn="ctr">
              <a:buNone/>
              <a:defRPr sz="1209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31ADE1F-3339-4E57-AF5F-0ABBE14A423A}"/>
              </a:ext>
            </a:extLst>
          </p:cNvPr>
          <p:cNvSpPr txBox="1"/>
          <p:nvPr/>
        </p:nvSpPr>
        <p:spPr>
          <a:xfrm>
            <a:off x="431799" y="4680000"/>
            <a:ext cx="2880001" cy="144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de-DE" sz="800" dirty="0">
                <a:solidFill>
                  <a:schemeClr val="bg1"/>
                </a:solidFill>
              </a:rPr>
              <a:t>© BDEW Bundesverband der Energie- und Wasserwirtschaft e.V. </a:t>
            </a:r>
            <a:endParaRPr lang="de-DE" sz="1360" dirty="0">
              <a:solidFill>
                <a:schemeClr val="bg1"/>
              </a:solidFill>
            </a:endParaRPr>
          </a:p>
        </p:txBody>
      </p:sp>
      <p:sp>
        <p:nvSpPr>
          <p:cNvPr id="185" name="Rechteck 184">
            <a:extLst>
              <a:ext uri="{FF2B5EF4-FFF2-40B4-BE49-F238E27FC236}">
                <a16:creationId xmlns:a16="http://schemas.microsoft.com/office/drawing/2014/main" id="{14FA0E42-6739-40CF-8134-93A20DC4BE70}"/>
              </a:ext>
            </a:extLst>
          </p:cNvPr>
          <p:cNvSpPr/>
          <p:nvPr/>
        </p:nvSpPr>
        <p:spPr>
          <a:xfrm>
            <a:off x="149617" y="144115"/>
            <a:ext cx="8928000" cy="4896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36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F49EA0F-470E-4848-8624-5CE19AA0E52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312000" y="4680000"/>
            <a:ext cx="720000" cy="144000"/>
          </a:xfrm>
          <a:noFill/>
        </p:spPr>
        <p:txBody>
          <a:bodyPr wrap="none" lIns="0" tIns="0" rIns="0" bIns="0" rtlCol="0" anchor="ctr" anchorCtr="0">
            <a:noAutofit/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</a:lstStyle>
          <a:p>
            <a:fld id="{9350B5C6-BC7A-4C43-8467-B9EA439BF830}" type="datetime1">
              <a:rPr lang="de-DE" smtClean="0"/>
              <a:t>24.11.2022</a:t>
            </a:fld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93EA838E-5213-4879-A2D6-5CD6F8A3B68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 rot="16200000">
            <a:off x="-2540808" y="2412572"/>
            <a:ext cx="4932000" cy="144000"/>
          </a:xfrm>
        </p:spPr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D656861-D621-4470-819F-20325BEF236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 rot="16200000">
            <a:off x="-180793" y="4990705"/>
            <a:ext cx="216000" cy="144000"/>
          </a:xfrm>
        </p:spPr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98D48AE2-8C8A-408F-8198-A597AC40F28C}"/>
              </a:ext>
            </a:extLst>
          </p:cNvPr>
          <p:cNvGrpSpPr/>
          <p:nvPr/>
        </p:nvGrpSpPr>
        <p:grpSpPr>
          <a:xfrm>
            <a:off x="7273033" y="1944379"/>
            <a:ext cx="1799182" cy="576000"/>
            <a:chOff x="7273850" y="1905816"/>
            <a:chExt cx="1799182" cy="553594"/>
          </a:xfrm>
        </p:grpSpPr>
        <p:sp>
          <p:nvSpPr>
            <p:cNvPr id="30" name="Rectangle 64">
              <a:extLst>
                <a:ext uri="{FF2B5EF4-FFF2-40B4-BE49-F238E27FC236}">
                  <a16:creationId xmlns:a16="http://schemas.microsoft.com/office/drawing/2014/main" id="{8273970B-92E3-41BB-81F4-90CC6EED7E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3850" y="1905816"/>
              <a:ext cx="1799182" cy="55359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65">
              <a:extLst>
                <a:ext uri="{FF2B5EF4-FFF2-40B4-BE49-F238E27FC236}">
                  <a16:creationId xmlns:a16="http://schemas.microsoft.com/office/drawing/2014/main" id="{CA442679-49B1-431B-A689-A1D8FC734D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2238" y="2056941"/>
              <a:ext cx="1126278" cy="92266"/>
            </a:xfrm>
            <a:custGeom>
              <a:avLst/>
              <a:gdLst>
                <a:gd name="T0" fmla="*/ 1371 w 1412"/>
                <a:gd name="T1" fmla="*/ 50 h 116"/>
                <a:gd name="T2" fmla="*/ 1327 w 1412"/>
                <a:gd name="T3" fmla="*/ 28 h 116"/>
                <a:gd name="T4" fmla="*/ 1355 w 1412"/>
                <a:gd name="T5" fmla="*/ 14 h 116"/>
                <a:gd name="T6" fmla="*/ 1409 w 1412"/>
                <a:gd name="T7" fmla="*/ 50 h 116"/>
                <a:gd name="T8" fmla="*/ 1259 w 1412"/>
                <a:gd name="T9" fmla="*/ 99 h 116"/>
                <a:gd name="T10" fmla="*/ 1256 w 1412"/>
                <a:gd name="T11" fmla="*/ 91 h 116"/>
                <a:gd name="T12" fmla="*/ 1258 w 1412"/>
                <a:gd name="T13" fmla="*/ 51 h 116"/>
                <a:gd name="T14" fmla="*/ 1287 w 1412"/>
                <a:gd name="T15" fmla="*/ 114 h 116"/>
                <a:gd name="T16" fmla="*/ 1171 w 1412"/>
                <a:gd name="T17" fmla="*/ 2 h 116"/>
                <a:gd name="T18" fmla="*/ 1201 w 1412"/>
                <a:gd name="T19" fmla="*/ 114 h 116"/>
                <a:gd name="T20" fmla="*/ 1153 w 1412"/>
                <a:gd name="T21" fmla="*/ 2 h 116"/>
                <a:gd name="T22" fmla="*/ 1128 w 1412"/>
                <a:gd name="T23" fmla="*/ 55 h 116"/>
                <a:gd name="T24" fmla="*/ 1130 w 1412"/>
                <a:gd name="T25" fmla="*/ 94 h 116"/>
                <a:gd name="T26" fmla="*/ 1012 w 1412"/>
                <a:gd name="T27" fmla="*/ 93 h 116"/>
                <a:gd name="T28" fmla="*/ 1030 w 1412"/>
                <a:gd name="T29" fmla="*/ 80 h 116"/>
                <a:gd name="T30" fmla="*/ 1062 w 1412"/>
                <a:gd name="T31" fmla="*/ 43 h 116"/>
                <a:gd name="T32" fmla="*/ 1035 w 1412"/>
                <a:gd name="T33" fmla="*/ 66 h 116"/>
                <a:gd name="T34" fmla="*/ 1046 w 1412"/>
                <a:gd name="T35" fmla="*/ 114 h 116"/>
                <a:gd name="T36" fmla="*/ 958 w 1412"/>
                <a:gd name="T37" fmla="*/ 36 h 116"/>
                <a:gd name="T38" fmla="*/ 986 w 1412"/>
                <a:gd name="T39" fmla="*/ 101 h 116"/>
                <a:gd name="T40" fmla="*/ 958 w 1412"/>
                <a:gd name="T41" fmla="*/ 99 h 116"/>
                <a:gd name="T42" fmla="*/ 934 w 1412"/>
                <a:gd name="T43" fmla="*/ 34 h 116"/>
                <a:gd name="T44" fmla="*/ 895 w 1412"/>
                <a:gd name="T45" fmla="*/ 114 h 116"/>
                <a:gd name="T46" fmla="*/ 855 w 1412"/>
                <a:gd name="T47" fmla="*/ 19 h 116"/>
                <a:gd name="T48" fmla="*/ 728 w 1412"/>
                <a:gd name="T49" fmla="*/ 36 h 116"/>
                <a:gd name="T50" fmla="*/ 775 w 1412"/>
                <a:gd name="T51" fmla="*/ 36 h 116"/>
                <a:gd name="T52" fmla="*/ 821 w 1412"/>
                <a:gd name="T53" fmla="*/ 36 h 116"/>
                <a:gd name="T54" fmla="*/ 780 w 1412"/>
                <a:gd name="T55" fmla="*/ 67 h 116"/>
                <a:gd name="T56" fmla="*/ 692 w 1412"/>
                <a:gd name="T57" fmla="*/ 50 h 116"/>
                <a:gd name="T58" fmla="*/ 693 w 1412"/>
                <a:gd name="T59" fmla="*/ 66 h 116"/>
                <a:gd name="T60" fmla="*/ 607 w 1412"/>
                <a:gd name="T61" fmla="*/ 68 h 116"/>
                <a:gd name="T62" fmla="*/ 650 w 1412"/>
                <a:gd name="T63" fmla="*/ 44 h 116"/>
                <a:gd name="T64" fmla="*/ 649 w 1412"/>
                <a:gd name="T65" fmla="*/ 96 h 116"/>
                <a:gd name="T66" fmla="*/ 527 w 1412"/>
                <a:gd name="T67" fmla="*/ 93 h 116"/>
                <a:gd name="T68" fmla="*/ 545 w 1412"/>
                <a:gd name="T69" fmla="*/ 80 h 116"/>
                <a:gd name="T70" fmla="*/ 577 w 1412"/>
                <a:gd name="T71" fmla="*/ 43 h 116"/>
                <a:gd name="T72" fmla="*/ 550 w 1412"/>
                <a:gd name="T73" fmla="*/ 66 h 116"/>
                <a:gd name="T74" fmla="*/ 561 w 1412"/>
                <a:gd name="T75" fmla="*/ 114 h 116"/>
                <a:gd name="T76" fmla="*/ 490 w 1412"/>
                <a:gd name="T77" fmla="*/ 99 h 116"/>
                <a:gd name="T78" fmla="*/ 457 w 1412"/>
                <a:gd name="T79" fmla="*/ 66 h 116"/>
                <a:gd name="T80" fmla="*/ 483 w 1412"/>
                <a:gd name="T81" fmla="*/ 48 h 116"/>
                <a:gd name="T82" fmla="*/ 503 w 1412"/>
                <a:gd name="T83" fmla="*/ 76 h 116"/>
                <a:gd name="T84" fmla="*/ 451 w 1412"/>
                <a:gd name="T85" fmla="*/ 105 h 116"/>
                <a:gd name="T86" fmla="*/ 405 w 1412"/>
                <a:gd name="T87" fmla="*/ 78 h 116"/>
                <a:gd name="T88" fmla="*/ 415 w 1412"/>
                <a:gd name="T89" fmla="*/ 53 h 116"/>
                <a:gd name="T90" fmla="*/ 429 w 1412"/>
                <a:gd name="T91" fmla="*/ 43 h 116"/>
                <a:gd name="T92" fmla="*/ 379 w 1412"/>
                <a:gd name="T93" fmla="*/ 109 h 116"/>
                <a:gd name="T94" fmla="*/ 279 w 1412"/>
                <a:gd name="T95" fmla="*/ 79 h 116"/>
                <a:gd name="T96" fmla="*/ 334 w 1412"/>
                <a:gd name="T97" fmla="*/ 79 h 116"/>
                <a:gd name="T98" fmla="*/ 303 w 1412"/>
                <a:gd name="T99" fmla="*/ 35 h 116"/>
                <a:gd name="T100" fmla="*/ 182 w 1412"/>
                <a:gd name="T101" fmla="*/ 53 h 116"/>
                <a:gd name="T102" fmla="*/ 156 w 1412"/>
                <a:gd name="T103" fmla="*/ 37 h 116"/>
                <a:gd name="T104" fmla="*/ 158 w 1412"/>
                <a:gd name="T105" fmla="*/ 96 h 116"/>
                <a:gd name="T106" fmla="*/ 144 w 1412"/>
                <a:gd name="T107" fmla="*/ 105 h 116"/>
                <a:gd name="T108" fmla="*/ 106 w 1412"/>
                <a:gd name="T109" fmla="*/ 22 h 116"/>
                <a:gd name="T110" fmla="*/ 106 w 1412"/>
                <a:gd name="T111" fmla="*/ 22 h 116"/>
                <a:gd name="T112" fmla="*/ 26 w 1412"/>
                <a:gd name="T113" fmla="*/ 99 h 116"/>
                <a:gd name="T114" fmla="*/ 28 w 1412"/>
                <a:gd name="T115" fmla="*/ 11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12" h="116">
                  <a:moveTo>
                    <a:pt x="1412" y="113"/>
                  </a:moveTo>
                  <a:cubicBezTo>
                    <a:pt x="1410" y="113"/>
                    <a:pt x="1407" y="114"/>
                    <a:pt x="1405" y="115"/>
                  </a:cubicBezTo>
                  <a:cubicBezTo>
                    <a:pt x="1402" y="115"/>
                    <a:pt x="1399" y="116"/>
                    <a:pt x="1396" y="116"/>
                  </a:cubicBezTo>
                  <a:cubicBezTo>
                    <a:pt x="1391" y="116"/>
                    <a:pt x="1388" y="115"/>
                    <a:pt x="1385" y="114"/>
                  </a:cubicBezTo>
                  <a:cubicBezTo>
                    <a:pt x="1381" y="112"/>
                    <a:pt x="1379" y="110"/>
                    <a:pt x="1377" y="108"/>
                  </a:cubicBezTo>
                  <a:cubicBezTo>
                    <a:pt x="1375" y="105"/>
                    <a:pt x="1374" y="102"/>
                    <a:pt x="1373" y="99"/>
                  </a:cubicBezTo>
                  <a:cubicBezTo>
                    <a:pt x="1372" y="95"/>
                    <a:pt x="1371" y="92"/>
                    <a:pt x="1371" y="87"/>
                  </a:cubicBezTo>
                  <a:lnTo>
                    <a:pt x="1371" y="50"/>
                  </a:lnTo>
                  <a:lnTo>
                    <a:pt x="1345" y="50"/>
                  </a:lnTo>
                  <a:lnTo>
                    <a:pt x="1345" y="114"/>
                  </a:lnTo>
                  <a:lnTo>
                    <a:pt x="1327" y="114"/>
                  </a:lnTo>
                  <a:lnTo>
                    <a:pt x="1327" y="50"/>
                  </a:lnTo>
                  <a:lnTo>
                    <a:pt x="1317" y="50"/>
                  </a:lnTo>
                  <a:lnTo>
                    <a:pt x="1317" y="37"/>
                  </a:lnTo>
                  <a:lnTo>
                    <a:pt x="1327" y="36"/>
                  </a:lnTo>
                  <a:lnTo>
                    <a:pt x="1327" y="28"/>
                  </a:lnTo>
                  <a:cubicBezTo>
                    <a:pt x="1327" y="24"/>
                    <a:pt x="1328" y="20"/>
                    <a:pt x="1329" y="17"/>
                  </a:cubicBezTo>
                  <a:cubicBezTo>
                    <a:pt x="1330" y="13"/>
                    <a:pt x="1331" y="10"/>
                    <a:pt x="1333" y="8"/>
                  </a:cubicBezTo>
                  <a:cubicBezTo>
                    <a:pt x="1335" y="5"/>
                    <a:pt x="1338" y="3"/>
                    <a:pt x="1341" y="2"/>
                  </a:cubicBezTo>
                  <a:cubicBezTo>
                    <a:pt x="1345" y="1"/>
                    <a:pt x="1348" y="0"/>
                    <a:pt x="1353" y="0"/>
                  </a:cubicBezTo>
                  <a:cubicBezTo>
                    <a:pt x="1356" y="0"/>
                    <a:pt x="1358" y="0"/>
                    <a:pt x="1361" y="1"/>
                  </a:cubicBezTo>
                  <a:cubicBezTo>
                    <a:pt x="1363" y="1"/>
                    <a:pt x="1366" y="2"/>
                    <a:pt x="1367" y="3"/>
                  </a:cubicBezTo>
                  <a:lnTo>
                    <a:pt x="1364" y="16"/>
                  </a:lnTo>
                  <a:cubicBezTo>
                    <a:pt x="1361" y="15"/>
                    <a:pt x="1358" y="14"/>
                    <a:pt x="1355" y="14"/>
                  </a:cubicBezTo>
                  <a:cubicBezTo>
                    <a:pt x="1349" y="14"/>
                    <a:pt x="1345" y="19"/>
                    <a:pt x="1345" y="28"/>
                  </a:cubicBezTo>
                  <a:lnTo>
                    <a:pt x="1345" y="36"/>
                  </a:lnTo>
                  <a:lnTo>
                    <a:pt x="1372" y="36"/>
                  </a:lnTo>
                  <a:lnTo>
                    <a:pt x="1374" y="15"/>
                  </a:lnTo>
                  <a:lnTo>
                    <a:pt x="1389" y="15"/>
                  </a:lnTo>
                  <a:lnTo>
                    <a:pt x="1389" y="36"/>
                  </a:lnTo>
                  <a:lnTo>
                    <a:pt x="1409" y="36"/>
                  </a:lnTo>
                  <a:lnTo>
                    <a:pt x="1409" y="50"/>
                  </a:lnTo>
                  <a:lnTo>
                    <a:pt x="1389" y="50"/>
                  </a:lnTo>
                  <a:lnTo>
                    <a:pt x="1389" y="87"/>
                  </a:lnTo>
                  <a:cubicBezTo>
                    <a:pt x="1389" y="96"/>
                    <a:pt x="1393" y="101"/>
                    <a:pt x="1401" y="101"/>
                  </a:cubicBezTo>
                  <a:cubicBezTo>
                    <a:pt x="1402" y="101"/>
                    <a:pt x="1403" y="101"/>
                    <a:pt x="1405" y="101"/>
                  </a:cubicBezTo>
                  <a:cubicBezTo>
                    <a:pt x="1406" y="100"/>
                    <a:pt x="1407" y="100"/>
                    <a:pt x="1409" y="99"/>
                  </a:cubicBezTo>
                  <a:lnTo>
                    <a:pt x="1412" y="113"/>
                  </a:lnTo>
                  <a:close/>
                  <a:moveTo>
                    <a:pt x="1256" y="91"/>
                  </a:moveTo>
                  <a:cubicBezTo>
                    <a:pt x="1256" y="95"/>
                    <a:pt x="1257" y="97"/>
                    <a:pt x="1259" y="99"/>
                  </a:cubicBezTo>
                  <a:cubicBezTo>
                    <a:pt x="1261" y="101"/>
                    <a:pt x="1264" y="101"/>
                    <a:pt x="1267" y="101"/>
                  </a:cubicBezTo>
                  <a:cubicBezTo>
                    <a:pt x="1270" y="101"/>
                    <a:pt x="1273" y="101"/>
                    <a:pt x="1276" y="99"/>
                  </a:cubicBezTo>
                  <a:cubicBezTo>
                    <a:pt x="1278" y="98"/>
                    <a:pt x="1281" y="96"/>
                    <a:pt x="1284" y="93"/>
                  </a:cubicBezTo>
                  <a:lnTo>
                    <a:pt x="1284" y="75"/>
                  </a:lnTo>
                  <a:cubicBezTo>
                    <a:pt x="1278" y="76"/>
                    <a:pt x="1274" y="77"/>
                    <a:pt x="1270" y="78"/>
                  </a:cubicBezTo>
                  <a:cubicBezTo>
                    <a:pt x="1267" y="79"/>
                    <a:pt x="1264" y="80"/>
                    <a:pt x="1262" y="81"/>
                  </a:cubicBezTo>
                  <a:cubicBezTo>
                    <a:pt x="1260" y="83"/>
                    <a:pt x="1258" y="84"/>
                    <a:pt x="1257" y="86"/>
                  </a:cubicBezTo>
                  <a:cubicBezTo>
                    <a:pt x="1256" y="88"/>
                    <a:pt x="1256" y="89"/>
                    <a:pt x="1256" y="91"/>
                  </a:cubicBezTo>
                  <a:close/>
                  <a:moveTo>
                    <a:pt x="1238" y="93"/>
                  </a:moveTo>
                  <a:cubicBezTo>
                    <a:pt x="1238" y="84"/>
                    <a:pt x="1242" y="78"/>
                    <a:pt x="1249" y="73"/>
                  </a:cubicBezTo>
                  <a:cubicBezTo>
                    <a:pt x="1256" y="69"/>
                    <a:pt x="1268" y="66"/>
                    <a:pt x="1284" y="64"/>
                  </a:cubicBezTo>
                  <a:cubicBezTo>
                    <a:pt x="1284" y="62"/>
                    <a:pt x="1283" y="60"/>
                    <a:pt x="1283" y="58"/>
                  </a:cubicBezTo>
                  <a:cubicBezTo>
                    <a:pt x="1282" y="56"/>
                    <a:pt x="1282" y="55"/>
                    <a:pt x="1281" y="53"/>
                  </a:cubicBezTo>
                  <a:cubicBezTo>
                    <a:pt x="1279" y="52"/>
                    <a:pt x="1278" y="51"/>
                    <a:pt x="1276" y="50"/>
                  </a:cubicBezTo>
                  <a:cubicBezTo>
                    <a:pt x="1274" y="49"/>
                    <a:pt x="1272" y="49"/>
                    <a:pt x="1270" y="49"/>
                  </a:cubicBezTo>
                  <a:cubicBezTo>
                    <a:pt x="1266" y="49"/>
                    <a:pt x="1262" y="50"/>
                    <a:pt x="1258" y="51"/>
                  </a:cubicBezTo>
                  <a:cubicBezTo>
                    <a:pt x="1255" y="52"/>
                    <a:pt x="1251" y="54"/>
                    <a:pt x="1248" y="56"/>
                  </a:cubicBezTo>
                  <a:lnTo>
                    <a:pt x="1241" y="44"/>
                  </a:lnTo>
                  <a:cubicBezTo>
                    <a:pt x="1245" y="41"/>
                    <a:pt x="1250" y="39"/>
                    <a:pt x="1256" y="37"/>
                  </a:cubicBezTo>
                  <a:cubicBezTo>
                    <a:pt x="1261" y="35"/>
                    <a:pt x="1267" y="34"/>
                    <a:pt x="1273" y="34"/>
                  </a:cubicBezTo>
                  <a:cubicBezTo>
                    <a:pt x="1283" y="34"/>
                    <a:pt x="1290" y="37"/>
                    <a:pt x="1295" y="43"/>
                  </a:cubicBezTo>
                  <a:cubicBezTo>
                    <a:pt x="1300" y="48"/>
                    <a:pt x="1302" y="57"/>
                    <a:pt x="1302" y="68"/>
                  </a:cubicBezTo>
                  <a:lnTo>
                    <a:pt x="1302" y="114"/>
                  </a:lnTo>
                  <a:lnTo>
                    <a:pt x="1287" y="114"/>
                  </a:lnTo>
                  <a:lnTo>
                    <a:pt x="1286" y="105"/>
                  </a:lnTo>
                  <a:lnTo>
                    <a:pt x="1285" y="105"/>
                  </a:lnTo>
                  <a:cubicBezTo>
                    <a:pt x="1282" y="108"/>
                    <a:pt x="1278" y="111"/>
                    <a:pt x="1274" y="113"/>
                  </a:cubicBezTo>
                  <a:cubicBezTo>
                    <a:pt x="1270" y="115"/>
                    <a:pt x="1266" y="116"/>
                    <a:pt x="1261" y="116"/>
                  </a:cubicBezTo>
                  <a:cubicBezTo>
                    <a:pt x="1254" y="116"/>
                    <a:pt x="1249" y="114"/>
                    <a:pt x="1244" y="109"/>
                  </a:cubicBezTo>
                  <a:cubicBezTo>
                    <a:pt x="1240" y="105"/>
                    <a:pt x="1238" y="100"/>
                    <a:pt x="1238" y="93"/>
                  </a:cubicBezTo>
                  <a:close/>
                  <a:moveTo>
                    <a:pt x="1153" y="2"/>
                  </a:moveTo>
                  <a:lnTo>
                    <a:pt x="1171" y="2"/>
                  </a:lnTo>
                  <a:lnTo>
                    <a:pt x="1171" y="31"/>
                  </a:lnTo>
                  <a:lnTo>
                    <a:pt x="1171" y="46"/>
                  </a:lnTo>
                  <a:cubicBezTo>
                    <a:pt x="1174" y="43"/>
                    <a:pt x="1177" y="40"/>
                    <a:pt x="1181" y="38"/>
                  </a:cubicBezTo>
                  <a:cubicBezTo>
                    <a:pt x="1185" y="35"/>
                    <a:pt x="1190" y="34"/>
                    <a:pt x="1195" y="34"/>
                  </a:cubicBezTo>
                  <a:cubicBezTo>
                    <a:pt x="1204" y="34"/>
                    <a:pt x="1210" y="37"/>
                    <a:pt x="1214" y="42"/>
                  </a:cubicBezTo>
                  <a:cubicBezTo>
                    <a:pt x="1217" y="47"/>
                    <a:pt x="1219" y="55"/>
                    <a:pt x="1219" y="65"/>
                  </a:cubicBezTo>
                  <a:lnTo>
                    <a:pt x="1219" y="114"/>
                  </a:lnTo>
                  <a:lnTo>
                    <a:pt x="1201" y="114"/>
                  </a:lnTo>
                  <a:lnTo>
                    <a:pt x="1201" y="67"/>
                  </a:lnTo>
                  <a:cubicBezTo>
                    <a:pt x="1201" y="61"/>
                    <a:pt x="1200" y="56"/>
                    <a:pt x="1198" y="54"/>
                  </a:cubicBezTo>
                  <a:cubicBezTo>
                    <a:pt x="1196" y="51"/>
                    <a:pt x="1193" y="50"/>
                    <a:pt x="1189" y="50"/>
                  </a:cubicBezTo>
                  <a:cubicBezTo>
                    <a:pt x="1186" y="50"/>
                    <a:pt x="1183" y="51"/>
                    <a:pt x="1180" y="52"/>
                  </a:cubicBezTo>
                  <a:cubicBezTo>
                    <a:pt x="1177" y="54"/>
                    <a:pt x="1174" y="56"/>
                    <a:pt x="1171" y="59"/>
                  </a:cubicBezTo>
                  <a:lnTo>
                    <a:pt x="1171" y="114"/>
                  </a:lnTo>
                  <a:lnTo>
                    <a:pt x="1153" y="114"/>
                  </a:lnTo>
                  <a:lnTo>
                    <a:pt x="1153" y="2"/>
                  </a:lnTo>
                  <a:close/>
                  <a:moveTo>
                    <a:pt x="1075" y="75"/>
                  </a:moveTo>
                  <a:cubicBezTo>
                    <a:pt x="1075" y="68"/>
                    <a:pt x="1076" y="63"/>
                    <a:pt x="1078" y="58"/>
                  </a:cubicBezTo>
                  <a:cubicBezTo>
                    <a:pt x="1080" y="53"/>
                    <a:pt x="1083" y="48"/>
                    <a:pt x="1086" y="45"/>
                  </a:cubicBezTo>
                  <a:cubicBezTo>
                    <a:pt x="1090" y="41"/>
                    <a:pt x="1094" y="39"/>
                    <a:pt x="1099" y="37"/>
                  </a:cubicBezTo>
                  <a:cubicBezTo>
                    <a:pt x="1104" y="35"/>
                    <a:pt x="1109" y="34"/>
                    <a:pt x="1114" y="34"/>
                  </a:cubicBezTo>
                  <a:cubicBezTo>
                    <a:pt x="1119" y="34"/>
                    <a:pt x="1123" y="35"/>
                    <a:pt x="1127" y="37"/>
                  </a:cubicBezTo>
                  <a:cubicBezTo>
                    <a:pt x="1131" y="38"/>
                    <a:pt x="1134" y="41"/>
                    <a:pt x="1136" y="43"/>
                  </a:cubicBezTo>
                  <a:lnTo>
                    <a:pt x="1128" y="55"/>
                  </a:lnTo>
                  <a:cubicBezTo>
                    <a:pt x="1126" y="53"/>
                    <a:pt x="1124" y="51"/>
                    <a:pt x="1121" y="50"/>
                  </a:cubicBezTo>
                  <a:cubicBezTo>
                    <a:pt x="1119" y="49"/>
                    <a:pt x="1117" y="49"/>
                    <a:pt x="1115" y="49"/>
                  </a:cubicBezTo>
                  <a:cubicBezTo>
                    <a:pt x="1108" y="49"/>
                    <a:pt x="1103" y="51"/>
                    <a:pt x="1099" y="56"/>
                  </a:cubicBezTo>
                  <a:cubicBezTo>
                    <a:pt x="1095" y="61"/>
                    <a:pt x="1093" y="67"/>
                    <a:pt x="1093" y="75"/>
                  </a:cubicBezTo>
                  <a:cubicBezTo>
                    <a:pt x="1093" y="83"/>
                    <a:pt x="1095" y="89"/>
                    <a:pt x="1099" y="94"/>
                  </a:cubicBezTo>
                  <a:cubicBezTo>
                    <a:pt x="1103" y="98"/>
                    <a:pt x="1108" y="101"/>
                    <a:pt x="1114" y="101"/>
                  </a:cubicBezTo>
                  <a:cubicBezTo>
                    <a:pt x="1117" y="101"/>
                    <a:pt x="1120" y="100"/>
                    <a:pt x="1123" y="99"/>
                  </a:cubicBezTo>
                  <a:cubicBezTo>
                    <a:pt x="1126" y="97"/>
                    <a:pt x="1128" y="96"/>
                    <a:pt x="1130" y="94"/>
                  </a:cubicBezTo>
                  <a:lnTo>
                    <a:pt x="1138" y="106"/>
                  </a:lnTo>
                  <a:cubicBezTo>
                    <a:pt x="1134" y="109"/>
                    <a:pt x="1130" y="111"/>
                    <a:pt x="1126" y="113"/>
                  </a:cubicBezTo>
                  <a:cubicBezTo>
                    <a:pt x="1121" y="115"/>
                    <a:pt x="1117" y="116"/>
                    <a:pt x="1112" y="116"/>
                  </a:cubicBezTo>
                  <a:cubicBezTo>
                    <a:pt x="1107" y="116"/>
                    <a:pt x="1102" y="115"/>
                    <a:pt x="1097" y="113"/>
                  </a:cubicBezTo>
                  <a:cubicBezTo>
                    <a:pt x="1093" y="111"/>
                    <a:pt x="1089" y="108"/>
                    <a:pt x="1086" y="105"/>
                  </a:cubicBezTo>
                  <a:cubicBezTo>
                    <a:pt x="1082" y="101"/>
                    <a:pt x="1079" y="97"/>
                    <a:pt x="1078" y="92"/>
                  </a:cubicBezTo>
                  <a:cubicBezTo>
                    <a:pt x="1076" y="87"/>
                    <a:pt x="1075" y="81"/>
                    <a:pt x="1075" y="75"/>
                  </a:cubicBezTo>
                  <a:close/>
                  <a:moveTo>
                    <a:pt x="1012" y="93"/>
                  </a:moveTo>
                  <a:cubicBezTo>
                    <a:pt x="1016" y="96"/>
                    <a:pt x="1019" y="98"/>
                    <a:pt x="1023" y="100"/>
                  </a:cubicBezTo>
                  <a:cubicBezTo>
                    <a:pt x="1026" y="101"/>
                    <a:pt x="1030" y="102"/>
                    <a:pt x="1034" y="102"/>
                  </a:cubicBezTo>
                  <a:cubicBezTo>
                    <a:pt x="1038" y="102"/>
                    <a:pt x="1041" y="101"/>
                    <a:pt x="1043" y="99"/>
                  </a:cubicBezTo>
                  <a:cubicBezTo>
                    <a:pt x="1045" y="97"/>
                    <a:pt x="1046" y="95"/>
                    <a:pt x="1046" y="92"/>
                  </a:cubicBezTo>
                  <a:cubicBezTo>
                    <a:pt x="1046" y="91"/>
                    <a:pt x="1046" y="89"/>
                    <a:pt x="1045" y="88"/>
                  </a:cubicBezTo>
                  <a:cubicBezTo>
                    <a:pt x="1044" y="87"/>
                    <a:pt x="1043" y="86"/>
                    <a:pt x="1041" y="85"/>
                  </a:cubicBezTo>
                  <a:cubicBezTo>
                    <a:pt x="1039" y="84"/>
                    <a:pt x="1038" y="83"/>
                    <a:pt x="1036" y="82"/>
                  </a:cubicBezTo>
                  <a:cubicBezTo>
                    <a:pt x="1034" y="82"/>
                    <a:pt x="1032" y="81"/>
                    <a:pt x="1030" y="80"/>
                  </a:cubicBezTo>
                  <a:cubicBezTo>
                    <a:pt x="1027" y="79"/>
                    <a:pt x="1024" y="78"/>
                    <a:pt x="1022" y="77"/>
                  </a:cubicBezTo>
                  <a:cubicBezTo>
                    <a:pt x="1019" y="75"/>
                    <a:pt x="1017" y="74"/>
                    <a:pt x="1015" y="72"/>
                  </a:cubicBezTo>
                  <a:cubicBezTo>
                    <a:pt x="1013" y="70"/>
                    <a:pt x="1011" y="68"/>
                    <a:pt x="1010" y="66"/>
                  </a:cubicBezTo>
                  <a:cubicBezTo>
                    <a:pt x="1008" y="63"/>
                    <a:pt x="1008" y="61"/>
                    <a:pt x="1008" y="57"/>
                  </a:cubicBezTo>
                  <a:cubicBezTo>
                    <a:pt x="1008" y="50"/>
                    <a:pt x="1010" y="45"/>
                    <a:pt x="1015" y="41"/>
                  </a:cubicBezTo>
                  <a:cubicBezTo>
                    <a:pt x="1020" y="36"/>
                    <a:pt x="1027" y="34"/>
                    <a:pt x="1036" y="34"/>
                  </a:cubicBezTo>
                  <a:cubicBezTo>
                    <a:pt x="1041" y="34"/>
                    <a:pt x="1046" y="35"/>
                    <a:pt x="1051" y="37"/>
                  </a:cubicBezTo>
                  <a:cubicBezTo>
                    <a:pt x="1055" y="39"/>
                    <a:pt x="1059" y="41"/>
                    <a:pt x="1062" y="43"/>
                  </a:cubicBezTo>
                  <a:lnTo>
                    <a:pt x="1054" y="54"/>
                  </a:lnTo>
                  <a:cubicBezTo>
                    <a:pt x="1051" y="52"/>
                    <a:pt x="1048" y="51"/>
                    <a:pt x="1045" y="50"/>
                  </a:cubicBezTo>
                  <a:cubicBezTo>
                    <a:pt x="1042" y="48"/>
                    <a:pt x="1039" y="48"/>
                    <a:pt x="1036" y="48"/>
                  </a:cubicBezTo>
                  <a:cubicBezTo>
                    <a:pt x="1033" y="48"/>
                    <a:pt x="1030" y="49"/>
                    <a:pt x="1028" y="50"/>
                  </a:cubicBezTo>
                  <a:cubicBezTo>
                    <a:pt x="1026" y="52"/>
                    <a:pt x="1025" y="54"/>
                    <a:pt x="1025" y="56"/>
                  </a:cubicBezTo>
                  <a:cubicBezTo>
                    <a:pt x="1025" y="58"/>
                    <a:pt x="1025" y="59"/>
                    <a:pt x="1026" y="60"/>
                  </a:cubicBezTo>
                  <a:cubicBezTo>
                    <a:pt x="1027" y="62"/>
                    <a:pt x="1028" y="63"/>
                    <a:pt x="1030" y="63"/>
                  </a:cubicBezTo>
                  <a:cubicBezTo>
                    <a:pt x="1031" y="64"/>
                    <a:pt x="1033" y="65"/>
                    <a:pt x="1035" y="66"/>
                  </a:cubicBezTo>
                  <a:cubicBezTo>
                    <a:pt x="1037" y="66"/>
                    <a:pt x="1039" y="67"/>
                    <a:pt x="1041" y="68"/>
                  </a:cubicBezTo>
                  <a:cubicBezTo>
                    <a:pt x="1044" y="69"/>
                    <a:pt x="1046" y="70"/>
                    <a:pt x="1049" y="71"/>
                  </a:cubicBezTo>
                  <a:cubicBezTo>
                    <a:pt x="1052" y="72"/>
                    <a:pt x="1054" y="74"/>
                    <a:pt x="1056" y="76"/>
                  </a:cubicBezTo>
                  <a:cubicBezTo>
                    <a:pt x="1058" y="77"/>
                    <a:pt x="1060" y="80"/>
                    <a:pt x="1062" y="82"/>
                  </a:cubicBezTo>
                  <a:cubicBezTo>
                    <a:pt x="1063" y="85"/>
                    <a:pt x="1063" y="88"/>
                    <a:pt x="1063" y="92"/>
                  </a:cubicBezTo>
                  <a:cubicBezTo>
                    <a:pt x="1063" y="95"/>
                    <a:pt x="1063" y="98"/>
                    <a:pt x="1062" y="101"/>
                  </a:cubicBezTo>
                  <a:cubicBezTo>
                    <a:pt x="1060" y="104"/>
                    <a:pt x="1058" y="106"/>
                    <a:pt x="1056" y="109"/>
                  </a:cubicBezTo>
                  <a:cubicBezTo>
                    <a:pt x="1053" y="111"/>
                    <a:pt x="1050" y="112"/>
                    <a:pt x="1046" y="114"/>
                  </a:cubicBezTo>
                  <a:cubicBezTo>
                    <a:pt x="1042" y="115"/>
                    <a:pt x="1038" y="116"/>
                    <a:pt x="1033" y="116"/>
                  </a:cubicBezTo>
                  <a:cubicBezTo>
                    <a:pt x="1028" y="116"/>
                    <a:pt x="1023" y="115"/>
                    <a:pt x="1017" y="113"/>
                  </a:cubicBezTo>
                  <a:cubicBezTo>
                    <a:pt x="1012" y="110"/>
                    <a:pt x="1008" y="108"/>
                    <a:pt x="1004" y="105"/>
                  </a:cubicBezTo>
                  <a:lnTo>
                    <a:pt x="1012" y="93"/>
                  </a:lnTo>
                  <a:close/>
                  <a:moveTo>
                    <a:pt x="957" y="50"/>
                  </a:moveTo>
                  <a:lnTo>
                    <a:pt x="946" y="50"/>
                  </a:lnTo>
                  <a:lnTo>
                    <a:pt x="946" y="37"/>
                  </a:lnTo>
                  <a:lnTo>
                    <a:pt x="958" y="36"/>
                  </a:lnTo>
                  <a:lnTo>
                    <a:pt x="960" y="15"/>
                  </a:lnTo>
                  <a:lnTo>
                    <a:pt x="975" y="15"/>
                  </a:lnTo>
                  <a:lnTo>
                    <a:pt x="975" y="36"/>
                  </a:lnTo>
                  <a:lnTo>
                    <a:pt x="995" y="36"/>
                  </a:lnTo>
                  <a:lnTo>
                    <a:pt x="995" y="50"/>
                  </a:lnTo>
                  <a:lnTo>
                    <a:pt x="975" y="50"/>
                  </a:lnTo>
                  <a:lnTo>
                    <a:pt x="975" y="87"/>
                  </a:lnTo>
                  <a:cubicBezTo>
                    <a:pt x="975" y="96"/>
                    <a:pt x="979" y="101"/>
                    <a:pt x="986" y="101"/>
                  </a:cubicBezTo>
                  <a:cubicBezTo>
                    <a:pt x="988" y="101"/>
                    <a:pt x="989" y="101"/>
                    <a:pt x="991" y="101"/>
                  </a:cubicBezTo>
                  <a:cubicBezTo>
                    <a:pt x="992" y="100"/>
                    <a:pt x="993" y="100"/>
                    <a:pt x="994" y="99"/>
                  </a:cubicBezTo>
                  <a:lnTo>
                    <a:pt x="998" y="113"/>
                  </a:lnTo>
                  <a:cubicBezTo>
                    <a:pt x="996" y="113"/>
                    <a:pt x="993" y="114"/>
                    <a:pt x="990" y="115"/>
                  </a:cubicBezTo>
                  <a:cubicBezTo>
                    <a:pt x="988" y="115"/>
                    <a:pt x="985" y="116"/>
                    <a:pt x="982" y="116"/>
                  </a:cubicBezTo>
                  <a:cubicBezTo>
                    <a:pt x="977" y="116"/>
                    <a:pt x="973" y="115"/>
                    <a:pt x="970" y="114"/>
                  </a:cubicBezTo>
                  <a:cubicBezTo>
                    <a:pt x="967" y="112"/>
                    <a:pt x="965" y="110"/>
                    <a:pt x="963" y="108"/>
                  </a:cubicBezTo>
                  <a:cubicBezTo>
                    <a:pt x="961" y="105"/>
                    <a:pt x="959" y="102"/>
                    <a:pt x="958" y="99"/>
                  </a:cubicBezTo>
                  <a:cubicBezTo>
                    <a:pt x="958" y="95"/>
                    <a:pt x="957" y="92"/>
                    <a:pt x="957" y="87"/>
                  </a:cubicBezTo>
                  <a:lnTo>
                    <a:pt x="957" y="50"/>
                  </a:lnTo>
                  <a:close/>
                  <a:moveTo>
                    <a:pt x="895" y="36"/>
                  </a:moveTo>
                  <a:lnTo>
                    <a:pt x="910" y="36"/>
                  </a:lnTo>
                  <a:lnTo>
                    <a:pt x="912" y="50"/>
                  </a:lnTo>
                  <a:lnTo>
                    <a:pt x="912" y="50"/>
                  </a:lnTo>
                  <a:cubicBezTo>
                    <a:pt x="915" y="45"/>
                    <a:pt x="918" y="41"/>
                    <a:pt x="922" y="38"/>
                  </a:cubicBezTo>
                  <a:cubicBezTo>
                    <a:pt x="926" y="35"/>
                    <a:pt x="930" y="34"/>
                    <a:pt x="934" y="34"/>
                  </a:cubicBezTo>
                  <a:cubicBezTo>
                    <a:pt x="938" y="34"/>
                    <a:pt x="941" y="35"/>
                    <a:pt x="943" y="36"/>
                  </a:cubicBezTo>
                  <a:lnTo>
                    <a:pt x="940" y="51"/>
                  </a:lnTo>
                  <a:cubicBezTo>
                    <a:pt x="939" y="51"/>
                    <a:pt x="937" y="51"/>
                    <a:pt x="936" y="51"/>
                  </a:cubicBezTo>
                  <a:cubicBezTo>
                    <a:pt x="935" y="50"/>
                    <a:pt x="934" y="50"/>
                    <a:pt x="932" y="50"/>
                  </a:cubicBezTo>
                  <a:cubicBezTo>
                    <a:pt x="929" y="50"/>
                    <a:pt x="926" y="51"/>
                    <a:pt x="922" y="54"/>
                  </a:cubicBezTo>
                  <a:cubicBezTo>
                    <a:pt x="919" y="56"/>
                    <a:pt x="916" y="60"/>
                    <a:pt x="914" y="66"/>
                  </a:cubicBezTo>
                  <a:lnTo>
                    <a:pt x="914" y="114"/>
                  </a:lnTo>
                  <a:lnTo>
                    <a:pt x="895" y="114"/>
                  </a:lnTo>
                  <a:lnTo>
                    <a:pt x="895" y="36"/>
                  </a:lnTo>
                  <a:close/>
                  <a:moveTo>
                    <a:pt x="854" y="36"/>
                  </a:moveTo>
                  <a:lnTo>
                    <a:pt x="872" y="36"/>
                  </a:lnTo>
                  <a:lnTo>
                    <a:pt x="872" y="114"/>
                  </a:lnTo>
                  <a:lnTo>
                    <a:pt x="854" y="114"/>
                  </a:lnTo>
                  <a:lnTo>
                    <a:pt x="854" y="36"/>
                  </a:lnTo>
                  <a:close/>
                  <a:moveTo>
                    <a:pt x="863" y="22"/>
                  </a:moveTo>
                  <a:cubicBezTo>
                    <a:pt x="860" y="22"/>
                    <a:pt x="857" y="21"/>
                    <a:pt x="855" y="19"/>
                  </a:cubicBezTo>
                  <a:cubicBezTo>
                    <a:pt x="853" y="18"/>
                    <a:pt x="852" y="15"/>
                    <a:pt x="852" y="12"/>
                  </a:cubicBezTo>
                  <a:cubicBezTo>
                    <a:pt x="852" y="9"/>
                    <a:pt x="853" y="6"/>
                    <a:pt x="855" y="5"/>
                  </a:cubicBezTo>
                  <a:cubicBezTo>
                    <a:pt x="857" y="3"/>
                    <a:pt x="860" y="2"/>
                    <a:pt x="863" y="2"/>
                  </a:cubicBezTo>
                  <a:cubicBezTo>
                    <a:pt x="866" y="2"/>
                    <a:pt x="869" y="3"/>
                    <a:pt x="871" y="5"/>
                  </a:cubicBezTo>
                  <a:cubicBezTo>
                    <a:pt x="873" y="6"/>
                    <a:pt x="874" y="9"/>
                    <a:pt x="874" y="12"/>
                  </a:cubicBezTo>
                  <a:cubicBezTo>
                    <a:pt x="874" y="15"/>
                    <a:pt x="873" y="18"/>
                    <a:pt x="871" y="19"/>
                  </a:cubicBezTo>
                  <a:cubicBezTo>
                    <a:pt x="869" y="21"/>
                    <a:pt x="866" y="22"/>
                    <a:pt x="863" y="22"/>
                  </a:cubicBezTo>
                  <a:close/>
                  <a:moveTo>
                    <a:pt x="728" y="36"/>
                  </a:moveTo>
                  <a:lnTo>
                    <a:pt x="746" y="36"/>
                  </a:lnTo>
                  <a:lnTo>
                    <a:pt x="755" y="76"/>
                  </a:lnTo>
                  <a:cubicBezTo>
                    <a:pt x="756" y="80"/>
                    <a:pt x="757" y="84"/>
                    <a:pt x="758" y="87"/>
                  </a:cubicBezTo>
                  <a:cubicBezTo>
                    <a:pt x="758" y="91"/>
                    <a:pt x="759" y="95"/>
                    <a:pt x="760" y="99"/>
                  </a:cubicBezTo>
                  <a:lnTo>
                    <a:pt x="760" y="99"/>
                  </a:lnTo>
                  <a:cubicBezTo>
                    <a:pt x="761" y="95"/>
                    <a:pt x="762" y="91"/>
                    <a:pt x="762" y="87"/>
                  </a:cubicBezTo>
                  <a:cubicBezTo>
                    <a:pt x="763" y="84"/>
                    <a:pt x="764" y="80"/>
                    <a:pt x="765" y="76"/>
                  </a:cubicBezTo>
                  <a:lnTo>
                    <a:pt x="775" y="36"/>
                  </a:lnTo>
                  <a:lnTo>
                    <a:pt x="792" y="36"/>
                  </a:lnTo>
                  <a:lnTo>
                    <a:pt x="802" y="76"/>
                  </a:lnTo>
                  <a:cubicBezTo>
                    <a:pt x="803" y="80"/>
                    <a:pt x="804" y="84"/>
                    <a:pt x="805" y="87"/>
                  </a:cubicBezTo>
                  <a:cubicBezTo>
                    <a:pt x="806" y="91"/>
                    <a:pt x="806" y="95"/>
                    <a:pt x="807" y="99"/>
                  </a:cubicBezTo>
                  <a:lnTo>
                    <a:pt x="808" y="99"/>
                  </a:lnTo>
                  <a:cubicBezTo>
                    <a:pt x="809" y="95"/>
                    <a:pt x="809" y="91"/>
                    <a:pt x="810" y="87"/>
                  </a:cubicBezTo>
                  <a:cubicBezTo>
                    <a:pt x="811" y="84"/>
                    <a:pt x="811" y="80"/>
                    <a:pt x="812" y="76"/>
                  </a:cubicBezTo>
                  <a:lnTo>
                    <a:pt x="821" y="36"/>
                  </a:lnTo>
                  <a:lnTo>
                    <a:pt x="839" y="36"/>
                  </a:lnTo>
                  <a:lnTo>
                    <a:pt x="819" y="114"/>
                  </a:lnTo>
                  <a:lnTo>
                    <a:pt x="797" y="114"/>
                  </a:lnTo>
                  <a:lnTo>
                    <a:pt x="788" y="77"/>
                  </a:lnTo>
                  <a:cubicBezTo>
                    <a:pt x="787" y="74"/>
                    <a:pt x="786" y="70"/>
                    <a:pt x="786" y="66"/>
                  </a:cubicBezTo>
                  <a:cubicBezTo>
                    <a:pt x="785" y="63"/>
                    <a:pt x="784" y="59"/>
                    <a:pt x="783" y="55"/>
                  </a:cubicBezTo>
                  <a:lnTo>
                    <a:pt x="783" y="55"/>
                  </a:lnTo>
                  <a:cubicBezTo>
                    <a:pt x="782" y="59"/>
                    <a:pt x="781" y="63"/>
                    <a:pt x="780" y="67"/>
                  </a:cubicBezTo>
                  <a:cubicBezTo>
                    <a:pt x="780" y="70"/>
                    <a:pt x="779" y="74"/>
                    <a:pt x="778" y="78"/>
                  </a:cubicBezTo>
                  <a:lnTo>
                    <a:pt x="769" y="114"/>
                  </a:lnTo>
                  <a:lnTo>
                    <a:pt x="748" y="114"/>
                  </a:lnTo>
                  <a:lnTo>
                    <a:pt x="728" y="36"/>
                  </a:lnTo>
                  <a:close/>
                  <a:moveTo>
                    <a:pt x="675" y="36"/>
                  </a:moveTo>
                  <a:lnTo>
                    <a:pt x="690" y="36"/>
                  </a:lnTo>
                  <a:lnTo>
                    <a:pt x="691" y="50"/>
                  </a:lnTo>
                  <a:lnTo>
                    <a:pt x="692" y="50"/>
                  </a:lnTo>
                  <a:cubicBezTo>
                    <a:pt x="695" y="45"/>
                    <a:pt x="698" y="41"/>
                    <a:pt x="702" y="38"/>
                  </a:cubicBezTo>
                  <a:cubicBezTo>
                    <a:pt x="706" y="35"/>
                    <a:pt x="710" y="34"/>
                    <a:pt x="714" y="34"/>
                  </a:cubicBezTo>
                  <a:cubicBezTo>
                    <a:pt x="718" y="34"/>
                    <a:pt x="721" y="35"/>
                    <a:pt x="723" y="36"/>
                  </a:cubicBezTo>
                  <a:lnTo>
                    <a:pt x="720" y="51"/>
                  </a:lnTo>
                  <a:cubicBezTo>
                    <a:pt x="718" y="51"/>
                    <a:pt x="717" y="51"/>
                    <a:pt x="716" y="51"/>
                  </a:cubicBezTo>
                  <a:cubicBezTo>
                    <a:pt x="715" y="50"/>
                    <a:pt x="713" y="50"/>
                    <a:pt x="712" y="50"/>
                  </a:cubicBezTo>
                  <a:cubicBezTo>
                    <a:pt x="709" y="50"/>
                    <a:pt x="705" y="51"/>
                    <a:pt x="702" y="54"/>
                  </a:cubicBezTo>
                  <a:cubicBezTo>
                    <a:pt x="699" y="56"/>
                    <a:pt x="696" y="60"/>
                    <a:pt x="693" y="66"/>
                  </a:cubicBezTo>
                  <a:lnTo>
                    <a:pt x="693" y="114"/>
                  </a:lnTo>
                  <a:lnTo>
                    <a:pt x="675" y="114"/>
                  </a:lnTo>
                  <a:lnTo>
                    <a:pt x="675" y="36"/>
                  </a:lnTo>
                  <a:close/>
                  <a:moveTo>
                    <a:pt x="642" y="68"/>
                  </a:moveTo>
                  <a:cubicBezTo>
                    <a:pt x="642" y="62"/>
                    <a:pt x="641" y="57"/>
                    <a:pt x="638" y="53"/>
                  </a:cubicBezTo>
                  <a:cubicBezTo>
                    <a:pt x="635" y="50"/>
                    <a:pt x="631" y="48"/>
                    <a:pt x="626" y="48"/>
                  </a:cubicBezTo>
                  <a:cubicBezTo>
                    <a:pt x="621" y="48"/>
                    <a:pt x="617" y="50"/>
                    <a:pt x="614" y="53"/>
                  </a:cubicBezTo>
                  <a:cubicBezTo>
                    <a:pt x="610" y="56"/>
                    <a:pt x="608" y="61"/>
                    <a:pt x="607" y="68"/>
                  </a:cubicBezTo>
                  <a:lnTo>
                    <a:pt x="642" y="68"/>
                  </a:lnTo>
                  <a:close/>
                  <a:moveTo>
                    <a:pt x="590" y="75"/>
                  </a:moveTo>
                  <a:cubicBezTo>
                    <a:pt x="590" y="69"/>
                    <a:pt x="591" y="63"/>
                    <a:pt x="593" y="58"/>
                  </a:cubicBezTo>
                  <a:cubicBezTo>
                    <a:pt x="595" y="53"/>
                    <a:pt x="597" y="48"/>
                    <a:pt x="601" y="45"/>
                  </a:cubicBezTo>
                  <a:cubicBezTo>
                    <a:pt x="604" y="41"/>
                    <a:pt x="608" y="39"/>
                    <a:pt x="612" y="37"/>
                  </a:cubicBezTo>
                  <a:cubicBezTo>
                    <a:pt x="617" y="35"/>
                    <a:pt x="621" y="34"/>
                    <a:pt x="626" y="34"/>
                  </a:cubicBezTo>
                  <a:cubicBezTo>
                    <a:pt x="631" y="34"/>
                    <a:pt x="635" y="35"/>
                    <a:pt x="639" y="37"/>
                  </a:cubicBezTo>
                  <a:cubicBezTo>
                    <a:pt x="644" y="39"/>
                    <a:pt x="647" y="41"/>
                    <a:pt x="650" y="44"/>
                  </a:cubicBezTo>
                  <a:cubicBezTo>
                    <a:pt x="652" y="48"/>
                    <a:pt x="654" y="52"/>
                    <a:pt x="656" y="56"/>
                  </a:cubicBezTo>
                  <a:cubicBezTo>
                    <a:pt x="657" y="61"/>
                    <a:pt x="658" y="66"/>
                    <a:pt x="658" y="71"/>
                  </a:cubicBezTo>
                  <a:cubicBezTo>
                    <a:pt x="658" y="75"/>
                    <a:pt x="657" y="77"/>
                    <a:pt x="657" y="79"/>
                  </a:cubicBezTo>
                  <a:lnTo>
                    <a:pt x="608" y="79"/>
                  </a:lnTo>
                  <a:cubicBezTo>
                    <a:pt x="608" y="87"/>
                    <a:pt x="611" y="92"/>
                    <a:pt x="615" y="96"/>
                  </a:cubicBezTo>
                  <a:cubicBezTo>
                    <a:pt x="619" y="100"/>
                    <a:pt x="624" y="101"/>
                    <a:pt x="630" y="101"/>
                  </a:cubicBezTo>
                  <a:cubicBezTo>
                    <a:pt x="634" y="101"/>
                    <a:pt x="637" y="101"/>
                    <a:pt x="640" y="100"/>
                  </a:cubicBezTo>
                  <a:cubicBezTo>
                    <a:pt x="643" y="99"/>
                    <a:pt x="646" y="98"/>
                    <a:pt x="649" y="96"/>
                  </a:cubicBezTo>
                  <a:lnTo>
                    <a:pt x="655" y="107"/>
                  </a:lnTo>
                  <a:cubicBezTo>
                    <a:pt x="651" y="110"/>
                    <a:pt x="647" y="112"/>
                    <a:pt x="642" y="113"/>
                  </a:cubicBezTo>
                  <a:cubicBezTo>
                    <a:pt x="638" y="115"/>
                    <a:pt x="633" y="116"/>
                    <a:pt x="628" y="116"/>
                  </a:cubicBezTo>
                  <a:cubicBezTo>
                    <a:pt x="623" y="116"/>
                    <a:pt x="618" y="115"/>
                    <a:pt x="613" y="113"/>
                  </a:cubicBezTo>
                  <a:cubicBezTo>
                    <a:pt x="608" y="111"/>
                    <a:pt x="604" y="108"/>
                    <a:pt x="601" y="105"/>
                  </a:cubicBezTo>
                  <a:cubicBezTo>
                    <a:pt x="597" y="101"/>
                    <a:pt x="595" y="97"/>
                    <a:pt x="593" y="92"/>
                  </a:cubicBezTo>
                  <a:cubicBezTo>
                    <a:pt x="591" y="87"/>
                    <a:pt x="590" y="81"/>
                    <a:pt x="590" y="75"/>
                  </a:cubicBezTo>
                  <a:close/>
                  <a:moveTo>
                    <a:pt x="527" y="93"/>
                  </a:moveTo>
                  <a:cubicBezTo>
                    <a:pt x="531" y="96"/>
                    <a:pt x="534" y="98"/>
                    <a:pt x="538" y="100"/>
                  </a:cubicBezTo>
                  <a:cubicBezTo>
                    <a:pt x="541" y="101"/>
                    <a:pt x="545" y="102"/>
                    <a:pt x="549" y="102"/>
                  </a:cubicBezTo>
                  <a:cubicBezTo>
                    <a:pt x="553" y="102"/>
                    <a:pt x="556" y="101"/>
                    <a:pt x="558" y="99"/>
                  </a:cubicBezTo>
                  <a:cubicBezTo>
                    <a:pt x="560" y="97"/>
                    <a:pt x="561" y="95"/>
                    <a:pt x="561" y="92"/>
                  </a:cubicBezTo>
                  <a:cubicBezTo>
                    <a:pt x="561" y="91"/>
                    <a:pt x="561" y="89"/>
                    <a:pt x="560" y="88"/>
                  </a:cubicBezTo>
                  <a:cubicBezTo>
                    <a:pt x="559" y="87"/>
                    <a:pt x="558" y="86"/>
                    <a:pt x="556" y="85"/>
                  </a:cubicBezTo>
                  <a:cubicBezTo>
                    <a:pt x="554" y="84"/>
                    <a:pt x="553" y="83"/>
                    <a:pt x="551" y="82"/>
                  </a:cubicBezTo>
                  <a:cubicBezTo>
                    <a:pt x="549" y="82"/>
                    <a:pt x="547" y="81"/>
                    <a:pt x="545" y="80"/>
                  </a:cubicBezTo>
                  <a:cubicBezTo>
                    <a:pt x="542" y="79"/>
                    <a:pt x="540" y="78"/>
                    <a:pt x="537" y="77"/>
                  </a:cubicBezTo>
                  <a:cubicBezTo>
                    <a:pt x="534" y="75"/>
                    <a:pt x="532" y="74"/>
                    <a:pt x="530" y="72"/>
                  </a:cubicBezTo>
                  <a:cubicBezTo>
                    <a:pt x="528" y="70"/>
                    <a:pt x="526" y="68"/>
                    <a:pt x="525" y="66"/>
                  </a:cubicBezTo>
                  <a:cubicBezTo>
                    <a:pt x="523" y="63"/>
                    <a:pt x="523" y="61"/>
                    <a:pt x="523" y="57"/>
                  </a:cubicBezTo>
                  <a:cubicBezTo>
                    <a:pt x="523" y="50"/>
                    <a:pt x="525" y="45"/>
                    <a:pt x="530" y="41"/>
                  </a:cubicBezTo>
                  <a:cubicBezTo>
                    <a:pt x="535" y="36"/>
                    <a:pt x="542" y="34"/>
                    <a:pt x="551" y="34"/>
                  </a:cubicBezTo>
                  <a:cubicBezTo>
                    <a:pt x="557" y="34"/>
                    <a:pt x="561" y="35"/>
                    <a:pt x="566" y="37"/>
                  </a:cubicBezTo>
                  <a:cubicBezTo>
                    <a:pt x="570" y="39"/>
                    <a:pt x="574" y="41"/>
                    <a:pt x="577" y="43"/>
                  </a:cubicBezTo>
                  <a:lnTo>
                    <a:pt x="569" y="54"/>
                  </a:lnTo>
                  <a:cubicBezTo>
                    <a:pt x="566" y="52"/>
                    <a:pt x="563" y="51"/>
                    <a:pt x="560" y="50"/>
                  </a:cubicBezTo>
                  <a:cubicBezTo>
                    <a:pt x="557" y="48"/>
                    <a:pt x="555" y="48"/>
                    <a:pt x="551" y="48"/>
                  </a:cubicBezTo>
                  <a:cubicBezTo>
                    <a:pt x="548" y="48"/>
                    <a:pt x="545" y="49"/>
                    <a:pt x="543" y="50"/>
                  </a:cubicBezTo>
                  <a:cubicBezTo>
                    <a:pt x="541" y="52"/>
                    <a:pt x="540" y="54"/>
                    <a:pt x="540" y="56"/>
                  </a:cubicBezTo>
                  <a:cubicBezTo>
                    <a:pt x="540" y="58"/>
                    <a:pt x="541" y="59"/>
                    <a:pt x="541" y="60"/>
                  </a:cubicBezTo>
                  <a:cubicBezTo>
                    <a:pt x="542" y="62"/>
                    <a:pt x="543" y="63"/>
                    <a:pt x="545" y="63"/>
                  </a:cubicBezTo>
                  <a:cubicBezTo>
                    <a:pt x="546" y="64"/>
                    <a:pt x="548" y="65"/>
                    <a:pt x="550" y="66"/>
                  </a:cubicBezTo>
                  <a:cubicBezTo>
                    <a:pt x="552" y="66"/>
                    <a:pt x="554" y="67"/>
                    <a:pt x="556" y="68"/>
                  </a:cubicBezTo>
                  <a:cubicBezTo>
                    <a:pt x="559" y="69"/>
                    <a:pt x="561" y="70"/>
                    <a:pt x="564" y="71"/>
                  </a:cubicBezTo>
                  <a:cubicBezTo>
                    <a:pt x="567" y="72"/>
                    <a:pt x="569" y="74"/>
                    <a:pt x="571" y="76"/>
                  </a:cubicBezTo>
                  <a:cubicBezTo>
                    <a:pt x="574" y="77"/>
                    <a:pt x="575" y="80"/>
                    <a:pt x="577" y="82"/>
                  </a:cubicBezTo>
                  <a:cubicBezTo>
                    <a:pt x="578" y="85"/>
                    <a:pt x="579" y="88"/>
                    <a:pt x="579" y="92"/>
                  </a:cubicBezTo>
                  <a:cubicBezTo>
                    <a:pt x="579" y="95"/>
                    <a:pt x="578" y="98"/>
                    <a:pt x="577" y="101"/>
                  </a:cubicBezTo>
                  <a:cubicBezTo>
                    <a:pt x="575" y="104"/>
                    <a:pt x="573" y="106"/>
                    <a:pt x="571" y="109"/>
                  </a:cubicBezTo>
                  <a:cubicBezTo>
                    <a:pt x="568" y="111"/>
                    <a:pt x="565" y="112"/>
                    <a:pt x="561" y="114"/>
                  </a:cubicBezTo>
                  <a:cubicBezTo>
                    <a:pt x="557" y="115"/>
                    <a:pt x="553" y="116"/>
                    <a:pt x="548" y="116"/>
                  </a:cubicBezTo>
                  <a:cubicBezTo>
                    <a:pt x="543" y="116"/>
                    <a:pt x="538" y="115"/>
                    <a:pt x="532" y="113"/>
                  </a:cubicBezTo>
                  <a:cubicBezTo>
                    <a:pt x="527" y="110"/>
                    <a:pt x="523" y="108"/>
                    <a:pt x="519" y="105"/>
                  </a:cubicBezTo>
                  <a:lnTo>
                    <a:pt x="527" y="93"/>
                  </a:lnTo>
                  <a:close/>
                  <a:moveTo>
                    <a:pt x="459" y="93"/>
                  </a:moveTo>
                  <a:cubicBezTo>
                    <a:pt x="463" y="96"/>
                    <a:pt x="466" y="98"/>
                    <a:pt x="470" y="100"/>
                  </a:cubicBezTo>
                  <a:cubicBezTo>
                    <a:pt x="473" y="101"/>
                    <a:pt x="477" y="102"/>
                    <a:pt x="481" y="102"/>
                  </a:cubicBezTo>
                  <a:cubicBezTo>
                    <a:pt x="485" y="102"/>
                    <a:pt x="488" y="101"/>
                    <a:pt x="490" y="99"/>
                  </a:cubicBezTo>
                  <a:cubicBezTo>
                    <a:pt x="492" y="97"/>
                    <a:pt x="493" y="95"/>
                    <a:pt x="493" y="92"/>
                  </a:cubicBezTo>
                  <a:cubicBezTo>
                    <a:pt x="493" y="91"/>
                    <a:pt x="493" y="89"/>
                    <a:pt x="492" y="88"/>
                  </a:cubicBezTo>
                  <a:cubicBezTo>
                    <a:pt x="491" y="87"/>
                    <a:pt x="489" y="86"/>
                    <a:pt x="488" y="85"/>
                  </a:cubicBezTo>
                  <a:cubicBezTo>
                    <a:pt x="486" y="84"/>
                    <a:pt x="484" y="83"/>
                    <a:pt x="482" y="82"/>
                  </a:cubicBezTo>
                  <a:cubicBezTo>
                    <a:pt x="480" y="82"/>
                    <a:pt x="478" y="81"/>
                    <a:pt x="476" y="80"/>
                  </a:cubicBezTo>
                  <a:cubicBezTo>
                    <a:pt x="474" y="79"/>
                    <a:pt x="471" y="78"/>
                    <a:pt x="469" y="77"/>
                  </a:cubicBezTo>
                  <a:cubicBezTo>
                    <a:pt x="466" y="75"/>
                    <a:pt x="464" y="74"/>
                    <a:pt x="462" y="72"/>
                  </a:cubicBezTo>
                  <a:cubicBezTo>
                    <a:pt x="460" y="70"/>
                    <a:pt x="458" y="68"/>
                    <a:pt x="457" y="66"/>
                  </a:cubicBezTo>
                  <a:cubicBezTo>
                    <a:pt x="455" y="63"/>
                    <a:pt x="455" y="61"/>
                    <a:pt x="455" y="57"/>
                  </a:cubicBezTo>
                  <a:cubicBezTo>
                    <a:pt x="455" y="50"/>
                    <a:pt x="457" y="45"/>
                    <a:pt x="462" y="41"/>
                  </a:cubicBezTo>
                  <a:cubicBezTo>
                    <a:pt x="467" y="36"/>
                    <a:pt x="474" y="34"/>
                    <a:pt x="483" y="34"/>
                  </a:cubicBezTo>
                  <a:cubicBezTo>
                    <a:pt x="488" y="34"/>
                    <a:pt x="493" y="35"/>
                    <a:pt x="497" y="37"/>
                  </a:cubicBezTo>
                  <a:cubicBezTo>
                    <a:pt x="502" y="39"/>
                    <a:pt x="506" y="41"/>
                    <a:pt x="509" y="43"/>
                  </a:cubicBezTo>
                  <a:lnTo>
                    <a:pt x="500" y="54"/>
                  </a:lnTo>
                  <a:cubicBezTo>
                    <a:pt x="498" y="52"/>
                    <a:pt x="495" y="51"/>
                    <a:pt x="492" y="50"/>
                  </a:cubicBezTo>
                  <a:cubicBezTo>
                    <a:pt x="489" y="48"/>
                    <a:pt x="486" y="48"/>
                    <a:pt x="483" y="48"/>
                  </a:cubicBezTo>
                  <a:cubicBezTo>
                    <a:pt x="479" y="48"/>
                    <a:pt x="476" y="49"/>
                    <a:pt x="475" y="50"/>
                  </a:cubicBezTo>
                  <a:cubicBezTo>
                    <a:pt x="473" y="52"/>
                    <a:pt x="472" y="54"/>
                    <a:pt x="472" y="56"/>
                  </a:cubicBezTo>
                  <a:cubicBezTo>
                    <a:pt x="472" y="58"/>
                    <a:pt x="472" y="59"/>
                    <a:pt x="473" y="60"/>
                  </a:cubicBezTo>
                  <a:cubicBezTo>
                    <a:pt x="474" y="62"/>
                    <a:pt x="475" y="63"/>
                    <a:pt x="477" y="63"/>
                  </a:cubicBezTo>
                  <a:cubicBezTo>
                    <a:pt x="478" y="64"/>
                    <a:pt x="480" y="65"/>
                    <a:pt x="482" y="66"/>
                  </a:cubicBezTo>
                  <a:cubicBezTo>
                    <a:pt x="484" y="66"/>
                    <a:pt x="486" y="67"/>
                    <a:pt x="488" y="68"/>
                  </a:cubicBezTo>
                  <a:cubicBezTo>
                    <a:pt x="491" y="69"/>
                    <a:pt x="493" y="70"/>
                    <a:pt x="496" y="71"/>
                  </a:cubicBezTo>
                  <a:cubicBezTo>
                    <a:pt x="499" y="72"/>
                    <a:pt x="501" y="74"/>
                    <a:pt x="503" y="76"/>
                  </a:cubicBezTo>
                  <a:cubicBezTo>
                    <a:pt x="505" y="77"/>
                    <a:pt x="507" y="80"/>
                    <a:pt x="508" y="82"/>
                  </a:cubicBezTo>
                  <a:cubicBezTo>
                    <a:pt x="510" y="85"/>
                    <a:pt x="510" y="88"/>
                    <a:pt x="510" y="92"/>
                  </a:cubicBezTo>
                  <a:cubicBezTo>
                    <a:pt x="510" y="95"/>
                    <a:pt x="510" y="98"/>
                    <a:pt x="508" y="101"/>
                  </a:cubicBezTo>
                  <a:cubicBezTo>
                    <a:pt x="507" y="104"/>
                    <a:pt x="505" y="106"/>
                    <a:pt x="503" y="109"/>
                  </a:cubicBezTo>
                  <a:cubicBezTo>
                    <a:pt x="500" y="111"/>
                    <a:pt x="497" y="112"/>
                    <a:pt x="493" y="114"/>
                  </a:cubicBezTo>
                  <a:cubicBezTo>
                    <a:pt x="489" y="115"/>
                    <a:pt x="485" y="116"/>
                    <a:pt x="480" y="116"/>
                  </a:cubicBezTo>
                  <a:cubicBezTo>
                    <a:pt x="475" y="116"/>
                    <a:pt x="469" y="115"/>
                    <a:pt x="464" y="113"/>
                  </a:cubicBezTo>
                  <a:cubicBezTo>
                    <a:pt x="459" y="110"/>
                    <a:pt x="454" y="108"/>
                    <a:pt x="451" y="105"/>
                  </a:cubicBezTo>
                  <a:lnTo>
                    <a:pt x="459" y="93"/>
                  </a:lnTo>
                  <a:close/>
                  <a:moveTo>
                    <a:pt x="390" y="91"/>
                  </a:moveTo>
                  <a:cubicBezTo>
                    <a:pt x="390" y="95"/>
                    <a:pt x="391" y="97"/>
                    <a:pt x="393" y="99"/>
                  </a:cubicBezTo>
                  <a:cubicBezTo>
                    <a:pt x="395" y="101"/>
                    <a:pt x="398" y="101"/>
                    <a:pt x="401" y="101"/>
                  </a:cubicBezTo>
                  <a:cubicBezTo>
                    <a:pt x="404" y="101"/>
                    <a:pt x="407" y="101"/>
                    <a:pt x="410" y="99"/>
                  </a:cubicBezTo>
                  <a:cubicBezTo>
                    <a:pt x="412" y="98"/>
                    <a:pt x="415" y="96"/>
                    <a:pt x="418" y="93"/>
                  </a:cubicBezTo>
                  <a:lnTo>
                    <a:pt x="418" y="75"/>
                  </a:lnTo>
                  <a:cubicBezTo>
                    <a:pt x="413" y="76"/>
                    <a:pt x="408" y="77"/>
                    <a:pt x="405" y="78"/>
                  </a:cubicBezTo>
                  <a:cubicBezTo>
                    <a:pt x="401" y="79"/>
                    <a:pt x="398" y="80"/>
                    <a:pt x="396" y="81"/>
                  </a:cubicBezTo>
                  <a:cubicBezTo>
                    <a:pt x="394" y="83"/>
                    <a:pt x="392" y="84"/>
                    <a:pt x="391" y="86"/>
                  </a:cubicBezTo>
                  <a:cubicBezTo>
                    <a:pt x="390" y="88"/>
                    <a:pt x="390" y="89"/>
                    <a:pt x="390" y="91"/>
                  </a:cubicBezTo>
                  <a:close/>
                  <a:moveTo>
                    <a:pt x="372" y="93"/>
                  </a:moveTo>
                  <a:cubicBezTo>
                    <a:pt x="372" y="84"/>
                    <a:pt x="376" y="78"/>
                    <a:pt x="383" y="73"/>
                  </a:cubicBezTo>
                  <a:cubicBezTo>
                    <a:pt x="390" y="69"/>
                    <a:pt x="402" y="66"/>
                    <a:pt x="418" y="64"/>
                  </a:cubicBezTo>
                  <a:cubicBezTo>
                    <a:pt x="418" y="62"/>
                    <a:pt x="418" y="60"/>
                    <a:pt x="417" y="58"/>
                  </a:cubicBezTo>
                  <a:cubicBezTo>
                    <a:pt x="417" y="56"/>
                    <a:pt x="416" y="55"/>
                    <a:pt x="415" y="53"/>
                  </a:cubicBezTo>
                  <a:cubicBezTo>
                    <a:pt x="414" y="52"/>
                    <a:pt x="412" y="51"/>
                    <a:pt x="410" y="50"/>
                  </a:cubicBezTo>
                  <a:cubicBezTo>
                    <a:pt x="409" y="49"/>
                    <a:pt x="407" y="49"/>
                    <a:pt x="404" y="49"/>
                  </a:cubicBezTo>
                  <a:cubicBezTo>
                    <a:pt x="400" y="49"/>
                    <a:pt x="396" y="50"/>
                    <a:pt x="393" y="51"/>
                  </a:cubicBezTo>
                  <a:cubicBezTo>
                    <a:pt x="389" y="52"/>
                    <a:pt x="385" y="54"/>
                    <a:pt x="382" y="56"/>
                  </a:cubicBezTo>
                  <a:lnTo>
                    <a:pt x="375" y="44"/>
                  </a:lnTo>
                  <a:cubicBezTo>
                    <a:pt x="380" y="41"/>
                    <a:pt x="385" y="39"/>
                    <a:pt x="390" y="37"/>
                  </a:cubicBezTo>
                  <a:cubicBezTo>
                    <a:pt x="395" y="35"/>
                    <a:pt x="401" y="34"/>
                    <a:pt x="407" y="34"/>
                  </a:cubicBezTo>
                  <a:cubicBezTo>
                    <a:pt x="417" y="34"/>
                    <a:pt x="424" y="37"/>
                    <a:pt x="429" y="43"/>
                  </a:cubicBezTo>
                  <a:cubicBezTo>
                    <a:pt x="434" y="48"/>
                    <a:pt x="436" y="57"/>
                    <a:pt x="436" y="68"/>
                  </a:cubicBezTo>
                  <a:lnTo>
                    <a:pt x="436" y="114"/>
                  </a:lnTo>
                  <a:lnTo>
                    <a:pt x="421" y="114"/>
                  </a:lnTo>
                  <a:lnTo>
                    <a:pt x="420" y="105"/>
                  </a:lnTo>
                  <a:lnTo>
                    <a:pt x="419" y="105"/>
                  </a:lnTo>
                  <a:cubicBezTo>
                    <a:pt x="416" y="108"/>
                    <a:pt x="412" y="111"/>
                    <a:pt x="408" y="113"/>
                  </a:cubicBezTo>
                  <a:cubicBezTo>
                    <a:pt x="404" y="115"/>
                    <a:pt x="400" y="116"/>
                    <a:pt x="395" y="116"/>
                  </a:cubicBezTo>
                  <a:cubicBezTo>
                    <a:pt x="388" y="116"/>
                    <a:pt x="383" y="114"/>
                    <a:pt x="379" y="109"/>
                  </a:cubicBezTo>
                  <a:cubicBezTo>
                    <a:pt x="374" y="105"/>
                    <a:pt x="372" y="100"/>
                    <a:pt x="372" y="93"/>
                  </a:cubicBezTo>
                  <a:close/>
                  <a:moveTo>
                    <a:pt x="242" y="10"/>
                  </a:moveTo>
                  <a:lnTo>
                    <a:pt x="261" y="10"/>
                  </a:lnTo>
                  <a:lnTo>
                    <a:pt x="270" y="62"/>
                  </a:lnTo>
                  <a:cubicBezTo>
                    <a:pt x="271" y="68"/>
                    <a:pt x="272" y="74"/>
                    <a:pt x="273" y="79"/>
                  </a:cubicBezTo>
                  <a:cubicBezTo>
                    <a:pt x="274" y="85"/>
                    <a:pt x="274" y="90"/>
                    <a:pt x="275" y="95"/>
                  </a:cubicBezTo>
                  <a:lnTo>
                    <a:pt x="276" y="95"/>
                  </a:lnTo>
                  <a:cubicBezTo>
                    <a:pt x="277" y="90"/>
                    <a:pt x="278" y="84"/>
                    <a:pt x="279" y="79"/>
                  </a:cubicBezTo>
                  <a:cubicBezTo>
                    <a:pt x="280" y="73"/>
                    <a:pt x="282" y="68"/>
                    <a:pt x="283" y="62"/>
                  </a:cubicBezTo>
                  <a:lnTo>
                    <a:pt x="295" y="10"/>
                  </a:lnTo>
                  <a:lnTo>
                    <a:pt x="311" y="10"/>
                  </a:lnTo>
                  <a:lnTo>
                    <a:pt x="324" y="62"/>
                  </a:lnTo>
                  <a:cubicBezTo>
                    <a:pt x="325" y="68"/>
                    <a:pt x="326" y="73"/>
                    <a:pt x="328" y="79"/>
                  </a:cubicBezTo>
                  <a:cubicBezTo>
                    <a:pt x="329" y="84"/>
                    <a:pt x="330" y="90"/>
                    <a:pt x="331" y="95"/>
                  </a:cubicBezTo>
                  <a:lnTo>
                    <a:pt x="332" y="95"/>
                  </a:lnTo>
                  <a:cubicBezTo>
                    <a:pt x="333" y="90"/>
                    <a:pt x="333" y="84"/>
                    <a:pt x="334" y="79"/>
                  </a:cubicBezTo>
                  <a:cubicBezTo>
                    <a:pt x="335" y="73"/>
                    <a:pt x="336" y="68"/>
                    <a:pt x="337" y="62"/>
                  </a:cubicBezTo>
                  <a:lnTo>
                    <a:pt x="346" y="10"/>
                  </a:lnTo>
                  <a:lnTo>
                    <a:pt x="363" y="10"/>
                  </a:lnTo>
                  <a:lnTo>
                    <a:pt x="343" y="114"/>
                  </a:lnTo>
                  <a:lnTo>
                    <a:pt x="321" y="114"/>
                  </a:lnTo>
                  <a:lnTo>
                    <a:pt x="308" y="59"/>
                  </a:lnTo>
                  <a:cubicBezTo>
                    <a:pt x="307" y="55"/>
                    <a:pt x="306" y="51"/>
                    <a:pt x="305" y="47"/>
                  </a:cubicBezTo>
                  <a:cubicBezTo>
                    <a:pt x="305" y="43"/>
                    <a:pt x="304" y="39"/>
                    <a:pt x="303" y="35"/>
                  </a:cubicBezTo>
                  <a:lnTo>
                    <a:pt x="303" y="35"/>
                  </a:lnTo>
                  <a:cubicBezTo>
                    <a:pt x="302" y="39"/>
                    <a:pt x="301" y="43"/>
                    <a:pt x="300" y="47"/>
                  </a:cubicBezTo>
                  <a:cubicBezTo>
                    <a:pt x="299" y="51"/>
                    <a:pt x="299" y="55"/>
                    <a:pt x="298" y="59"/>
                  </a:cubicBezTo>
                  <a:lnTo>
                    <a:pt x="285" y="114"/>
                  </a:lnTo>
                  <a:lnTo>
                    <a:pt x="263" y="114"/>
                  </a:lnTo>
                  <a:lnTo>
                    <a:pt x="242" y="10"/>
                  </a:lnTo>
                  <a:close/>
                  <a:moveTo>
                    <a:pt x="185" y="68"/>
                  </a:moveTo>
                  <a:cubicBezTo>
                    <a:pt x="185" y="62"/>
                    <a:pt x="184" y="57"/>
                    <a:pt x="182" y="53"/>
                  </a:cubicBezTo>
                  <a:cubicBezTo>
                    <a:pt x="179" y="50"/>
                    <a:pt x="175" y="48"/>
                    <a:pt x="170" y="48"/>
                  </a:cubicBezTo>
                  <a:cubicBezTo>
                    <a:pt x="165" y="48"/>
                    <a:pt x="161" y="50"/>
                    <a:pt x="157" y="53"/>
                  </a:cubicBezTo>
                  <a:cubicBezTo>
                    <a:pt x="154" y="56"/>
                    <a:pt x="152" y="61"/>
                    <a:pt x="151" y="68"/>
                  </a:cubicBezTo>
                  <a:lnTo>
                    <a:pt x="185" y="68"/>
                  </a:lnTo>
                  <a:close/>
                  <a:moveTo>
                    <a:pt x="133" y="75"/>
                  </a:moveTo>
                  <a:cubicBezTo>
                    <a:pt x="133" y="69"/>
                    <a:pt x="134" y="63"/>
                    <a:pt x="136" y="58"/>
                  </a:cubicBezTo>
                  <a:cubicBezTo>
                    <a:pt x="138" y="53"/>
                    <a:pt x="141" y="48"/>
                    <a:pt x="144" y="45"/>
                  </a:cubicBezTo>
                  <a:cubicBezTo>
                    <a:pt x="148" y="41"/>
                    <a:pt x="151" y="39"/>
                    <a:pt x="156" y="37"/>
                  </a:cubicBezTo>
                  <a:cubicBezTo>
                    <a:pt x="160" y="35"/>
                    <a:pt x="165" y="34"/>
                    <a:pt x="169" y="34"/>
                  </a:cubicBezTo>
                  <a:cubicBezTo>
                    <a:pt x="174" y="34"/>
                    <a:pt x="179" y="35"/>
                    <a:pt x="183" y="37"/>
                  </a:cubicBezTo>
                  <a:cubicBezTo>
                    <a:pt x="187" y="39"/>
                    <a:pt x="190" y="41"/>
                    <a:pt x="193" y="44"/>
                  </a:cubicBezTo>
                  <a:cubicBezTo>
                    <a:pt x="196" y="48"/>
                    <a:pt x="198" y="52"/>
                    <a:pt x="199" y="56"/>
                  </a:cubicBezTo>
                  <a:cubicBezTo>
                    <a:pt x="201" y="61"/>
                    <a:pt x="201" y="66"/>
                    <a:pt x="201" y="71"/>
                  </a:cubicBezTo>
                  <a:cubicBezTo>
                    <a:pt x="201" y="75"/>
                    <a:pt x="201" y="77"/>
                    <a:pt x="200" y="79"/>
                  </a:cubicBezTo>
                  <a:lnTo>
                    <a:pt x="151" y="79"/>
                  </a:lnTo>
                  <a:cubicBezTo>
                    <a:pt x="152" y="87"/>
                    <a:pt x="154" y="92"/>
                    <a:pt x="158" y="96"/>
                  </a:cubicBezTo>
                  <a:cubicBezTo>
                    <a:pt x="162" y="100"/>
                    <a:pt x="168" y="101"/>
                    <a:pt x="174" y="101"/>
                  </a:cubicBezTo>
                  <a:cubicBezTo>
                    <a:pt x="177" y="101"/>
                    <a:pt x="181" y="101"/>
                    <a:pt x="183" y="100"/>
                  </a:cubicBezTo>
                  <a:cubicBezTo>
                    <a:pt x="186" y="99"/>
                    <a:pt x="189" y="98"/>
                    <a:pt x="192" y="96"/>
                  </a:cubicBezTo>
                  <a:lnTo>
                    <a:pt x="198" y="107"/>
                  </a:lnTo>
                  <a:cubicBezTo>
                    <a:pt x="195" y="110"/>
                    <a:pt x="190" y="112"/>
                    <a:pt x="186" y="113"/>
                  </a:cubicBezTo>
                  <a:cubicBezTo>
                    <a:pt x="181" y="115"/>
                    <a:pt x="177" y="116"/>
                    <a:pt x="172" y="116"/>
                  </a:cubicBezTo>
                  <a:cubicBezTo>
                    <a:pt x="166" y="116"/>
                    <a:pt x="161" y="115"/>
                    <a:pt x="157" y="113"/>
                  </a:cubicBezTo>
                  <a:cubicBezTo>
                    <a:pt x="152" y="111"/>
                    <a:pt x="148" y="108"/>
                    <a:pt x="144" y="105"/>
                  </a:cubicBezTo>
                  <a:cubicBezTo>
                    <a:pt x="141" y="101"/>
                    <a:pt x="138" y="97"/>
                    <a:pt x="136" y="92"/>
                  </a:cubicBezTo>
                  <a:cubicBezTo>
                    <a:pt x="134" y="87"/>
                    <a:pt x="133" y="81"/>
                    <a:pt x="133" y="75"/>
                  </a:cubicBezTo>
                  <a:close/>
                  <a:moveTo>
                    <a:pt x="97" y="36"/>
                  </a:moveTo>
                  <a:lnTo>
                    <a:pt x="115" y="36"/>
                  </a:lnTo>
                  <a:lnTo>
                    <a:pt x="115" y="114"/>
                  </a:lnTo>
                  <a:lnTo>
                    <a:pt x="97" y="114"/>
                  </a:lnTo>
                  <a:lnTo>
                    <a:pt x="97" y="36"/>
                  </a:lnTo>
                  <a:close/>
                  <a:moveTo>
                    <a:pt x="106" y="22"/>
                  </a:moveTo>
                  <a:cubicBezTo>
                    <a:pt x="103" y="22"/>
                    <a:pt x="100" y="21"/>
                    <a:pt x="98" y="19"/>
                  </a:cubicBezTo>
                  <a:cubicBezTo>
                    <a:pt x="96" y="18"/>
                    <a:pt x="95" y="15"/>
                    <a:pt x="95" y="12"/>
                  </a:cubicBezTo>
                  <a:cubicBezTo>
                    <a:pt x="95" y="9"/>
                    <a:pt x="96" y="6"/>
                    <a:pt x="98" y="5"/>
                  </a:cubicBezTo>
                  <a:cubicBezTo>
                    <a:pt x="100" y="3"/>
                    <a:pt x="103" y="2"/>
                    <a:pt x="106" y="2"/>
                  </a:cubicBezTo>
                  <a:cubicBezTo>
                    <a:pt x="109" y="2"/>
                    <a:pt x="112" y="3"/>
                    <a:pt x="114" y="5"/>
                  </a:cubicBezTo>
                  <a:cubicBezTo>
                    <a:pt x="116" y="6"/>
                    <a:pt x="117" y="9"/>
                    <a:pt x="117" y="12"/>
                  </a:cubicBezTo>
                  <a:cubicBezTo>
                    <a:pt x="117" y="15"/>
                    <a:pt x="116" y="18"/>
                    <a:pt x="114" y="19"/>
                  </a:cubicBezTo>
                  <a:cubicBezTo>
                    <a:pt x="112" y="21"/>
                    <a:pt x="109" y="22"/>
                    <a:pt x="106" y="22"/>
                  </a:cubicBezTo>
                  <a:close/>
                  <a:moveTo>
                    <a:pt x="26" y="99"/>
                  </a:moveTo>
                  <a:cubicBezTo>
                    <a:pt x="37" y="99"/>
                    <a:pt x="45" y="96"/>
                    <a:pt x="50" y="90"/>
                  </a:cubicBezTo>
                  <a:cubicBezTo>
                    <a:pt x="56" y="84"/>
                    <a:pt x="59" y="74"/>
                    <a:pt x="59" y="61"/>
                  </a:cubicBezTo>
                  <a:cubicBezTo>
                    <a:pt x="59" y="49"/>
                    <a:pt x="56" y="40"/>
                    <a:pt x="50" y="34"/>
                  </a:cubicBezTo>
                  <a:cubicBezTo>
                    <a:pt x="44" y="28"/>
                    <a:pt x="36" y="25"/>
                    <a:pt x="26" y="25"/>
                  </a:cubicBezTo>
                  <a:lnTo>
                    <a:pt x="18" y="25"/>
                  </a:lnTo>
                  <a:lnTo>
                    <a:pt x="18" y="99"/>
                  </a:lnTo>
                  <a:lnTo>
                    <a:pt x="26" y="99"/>
                  </a:lnTo>
                  <a:close/>
                  <a:moveTo>
                    <a:pt x="0" y="10"/>
                  </a:moveTo>
                  <a:lnTo>
                    <a:pt x="27" y="10"/>
                  </a:lnTo>
                  <a:cubicBezTo>
                    <a:pt x="43" y="10"/>
                    <a:pt x="55" y="14"/>
                    <a:pt x="64" y="23"/>
                  </a:cubicBezTo>
                  <a:cubicBezTo>
                    <a:pt x="73" y="32"/>
                    <a:pt x="78" y="44"/>
                    <a:pt x="78" y="61"/>
                  </a:cubicBezTo>
                  <a:cubicBezTo>
                    <a:pt x="78" y="70"/>
                    <a:pt x="76" y="78"/>
                    <a:pt x="74" y="84"/>
                  </a:cubicBezTo>
                  <a:cubicBezTo>
                    <a:pt x="72" y="91"/>
                    <a:pt x="69" y="96"/>
                    <a:pt x="64" y="100"/>
                  </a:cubicBezTo>
                  <a:cubicBezTo>
                    <a:pt x="60" y="105"/>
                    <a:pt x="55" y="108"/>
                    <a:pt x="49" y="110"/>
                  </a:cubicBezTo>
                  <a:cubicBezTo>
                    <a:pt x="43" y="113"/>
                    <a:pt x="36" y="114"/>
                    <a:pt x="28" y="114"/>
                  </a:cubicBezTo>
                  <a:lnTo>
                    <a:pt x="0" y="114"/>
                  </a:lnTo>
                  <a:lnTo>
                    <a:pt x="0" y="10"/>
                  </a:lnTo>
                </a:path>
              </a:pathLst>
            </a:custGeom>
            <a:solidFill>
              <a:srgbClr val="0068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66">
              <a:extLst>
                <a:ext uri="{FF2B5EF4-FFF2-40B4-BE49-F238E27FC236}">
                  <a16:creationId xmlns:a16="http://schemas.microsoft.com/office/drawing/2014/main" id="{99ADEAF5-DAEB-4EEA-92DD-50B5C10AB7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50647" y="2208066"/>
              <a:ext cx="17499" cy="89084"/>
            </a:xfrm>
            <a:custGeom>
              <a:avLst/>
              <a:gdLst>
                <a:gd name="T0" fmla="*/ 2 w 22"/>
                <a:gd name="T1" fmla="*/ 34 h 112"/>
                <a:gd name="T2" fmla="*/ 20 w 22"/>
                <a:gd name="T3" fmla="*/ 34 h 112"/>
                <a:gd name="T4" fmla="*/ 20 w 22"/>
                <a:gd name="T5" fmla="*/ 112 h 112"/>
                <a:gd name="T6" fmla="*/ 2 w 22"/>
                <a:gd name="T7" fmla="*/ 112 h 112"/>
                <a:gd name="T8" fmla="*/ 2 w 22"/>
                <a:gd name="T9" fmla="*/ 34 h 112"/>
                <a:gd name="T10" fmla="*/ 11 w 22"/>
                <a:gd name="T11" fmla="*/ 21 h 112"/>
                <a:gd name="T12" fmla="*/ 3 w 22"/>
                <a:gd name="T13" fmla="*/ 18 h 112"/>
                <a:gd name="T14" fmla="*/ 0 w 22"/>
                <a:gd name="T15" fmla="*/ 10 h 112"/>
                <a:gd name="T16" fmla="*/ 3 w 22"/>
                <a:gd name="T17" fmla="*/ 3 h 112"/>
                <a:gd name="T18" fmla="*/ 11 w 22"/>
                <a:gd name="T19" fmla="*/ 0 h 112"/>
                <a:gd name="T20" fmla="*/ 19 w 22"/>
                <a:gd name="T21" fmla="*/ 3 h 112"/>
                <a:gd name="T22" fmla="*/ 22 w 22"/>
                <a:gd name="T23" fmla="*/ 10 h 112"/>
                <a:gd name="T24" fmla="*/ 19 w 22"/>
                <a:gd name="T25" fmla="*/ 18 h 112"/>
                <a:gd name="T26" fmla="*/ 11 w 22"/>
                <a:gd name="T27" fmla="*/ 2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112">
                  <a:moveTo>
                    <a:pt x="2" y="34"/>
                  </a:moveTo>
                  <a:lnTo>
                    <a:pt x="20" y="34"/>
                  </a:lnTo>
                  <a:lnTo>
                    <a:pt x="20" y="112"/>
                  </a:lnTo>
                  <a:lnTo>
                    <a:pt x="2" y="112"/>
                  </a:lnTo>
                  <a:lnTo>
                    <a:pt x="2" y="34"/>
                  </a:lnTo>
                  <a:close/>
                  <a:moveTo>
                    <a:pt x="11" y="21"/>
                  </a:moveTo>
                  <a:cubicBezTo>
                    <a:pt x="8" y="21"/>
                    <a:pt x="5" y="20"/>
                    <a:pt x="3" y="18"/>
                  </a:cubicBezTo>
                  <a:cubicBezTo>
                    <a:pt x="1" y="16"/>
                    <a:pt x="0" y="13"/>
                    <a:pt x="0" y="10"/>
                  </a:cubicBezTo>
                  <a:cubicBezTo>
                    <a:pt x="0" y="7"/>
                    <a:pt x="1" y="5"/>
                    <a:pt x="3" y="3"/>
                  </a:cubicBezTo>
                  <a:cubicBezTo>
                    <a:pt x="5" y="1"/>
                    <a:pt x="8" y="0"/>
                    <a:pt x="11" y="0"/>
                  </a:cubicBezTo>
                  <a:cubicBezTo>
                    <a:pt x="14" y="0"/>
                    <a:pt x="17" y="1"/>
                    <a:pt x="19" y="3"/>
                  </a:cubicBezTo>
                  <a:cubicBezTo>
                    <a:pt x="21" y="5"/>
                    <a:pt x="22" y="7"/>
                    <a:pt x="22" y="10"/>
                  </a:cubicBezTo>
                  <a:cubicBezTo>
                    <a:pt x="22" y="13"/>
                    <a:pt x="21" y="16"/>
                    <a:pt x="19" y="18"/>
                  </a:cubicBezTo>
                  <a:cubicBezTo>
                    <a:pt x="17" y="20"/>
                    <a:pt x="14" y="21"/>
                    <a:pt x="11" y="21"/>
                  </a:cubicBezTo>
                  <a:close/>
                </a:path>
              </a:pathLst>
            </a:custGeom>
            <a:solidFill>
              <a:srgbClr val="0068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67">
              <a:extLst>
                <a:ext uri="{FF2B5EF4-FFF2-40B4-BE49-F238E27FC236}">
                  <a16:creationId xmlns:a16="http://schemas.microsoft.com/office/drawing/2014/main" id="{FEF6FFFB-BBE3-40F2-B371-06F7F4546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5645" y="2233519"/>
              <a:ext cx="89084" cy="63632"/>
            </a:xfrm>
            <a:custGeom>
              <a:avLst/>
              <a:gdLst>
                <a:gd name="T0" fmla="*/ 0 w 111"/>
                <a:gd name="T1" fmla="*/ 2 h 80"/>
                <a:gd name="T2" fmla="*/ 15 w 111"/>
                <a:gd name="T3" fmla="*/ 2 h 80"/>
                <a:gd name="T4" fmla="*/ 16 w 111"/>
                <a:gd name="T5" fmla="*/ 13 h 80"/>
                <a:gd name="T6" fmla="*/ 17 w 111"/>
                <a:gd name="T7" fmla="*/ 13 h 80"/>
                <a:gd name="T8" fmla="*/ 28 w 111"/>
                <a:gd name="T9" fmla="*/ 4 h 80"/>
                <a:gd name="T10" fmla="*/ 41 w 111"/>
                <a:gd name="T11" fmla="*/ 0 h 80"/>
                <a:gd name="T12" fmla="*/ 54 w 111"/>
                <a:gd name="T13" fmla="*/ 4 h 80"/>
                <a:gd name="T14" fmla="*/ 62 w 111"/>
                <a:gd name="T15" fmla="*/ 14 h 80"/>
                <a:gd name="T16" fmla="*/ 74 w 111"/>
                <a:gd name="T17" fmla="*/ 4 h 80"/>
                <a:gd name="T18" fmla="*/ 87 w 111"/>
                <a:gd name="T19" fmla="*/ 0 h 80"/>
                <a:gd name="T20" fmla="*/ 106 w 111"/>
                <a:gd name="T21" fmla="*/ 8 h 80"/>
                <a:gd name="T22" fmla="*/ 111 w 111"/>
                <a:gd name="T23" fmla="*/ 31 h 80"/>
                <a:gd name="T24" fmla="*/ 111 w 111"/>
                <a:gd name="T25" fmla="*/ 80 h 80"/>
                <a:gd name="T26" fmla="*/ 93 w 111"/>
                <a:gd name="T27" fmla="*/ 80 h 80"/>
                <a:gd name="T28" fmla="*/ 93 w 111"/>
                <a:gd name="T29" fmla="*/ 34 h 80"/>
                <a:gd name="T30" fmla="*/ 90 w 111"/>
                <a:gd name="T31" fmla="*/ 20 h 80"/>
                <a:gd name="T32" fmla="*/ 81 w 111"/>
                <a:gd name="T33" fmla="*/ 16 h 80"/>
                <a:gd name="T34" fmla="*/ 65 w 111"/>
                <a:gd name="T35" fmla="*/ 26 h 80"/>
                <a:gd name="T36" fmla="*/ 65 w 111"/>
                <a:gd name="T37" fmla="*/ 80 h 80"/>
                <a:gd name="T38" fmla="*/ 47 w 111"/>
                <a:gd name="T39" fmla="*/ 80 h 80"/>
                <a:gd name="T40" fmla="*/ 47 w 111"/>
                <a:gd name="T41" fmla="*/ 34 h 80"/>
                <a:gd name="T42" fmla="*/ 44 w 111"/>
                <a:gd name="T43" fmla="*/ 20 h 80"/>
                <a:gd name="T44" fmla="*/ 35 w 111"/>
                <a:gd name="T45" fmla="*/ 16 h 80"/>
                <a:gd name="T46" fmla="*/ 18 w 111"/>
                <a:gd name="T47" fmla="*/ 26 h 80"/>
                <a:gd name="T48" fmla="*/ 18 w 111"/>
                <a:gd name="T49" fmla="*/ 80 h 80"/>
                <a:gd name="T50" fmla="*/ 0 w 111"/>
                <a:gd name="T51" fmla="*/ 80 h 80"/>
                <a:gd name="T52" fmla="*/ 0 w 111"/>
                <a:gd name="T53" fmla="*/ 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1" h="80">
                  <a:moveTo>
                    <a:pt x="0" y="2"/>
                  </a:moveTo>
                  <a:lnTo>
                    <a:pt x="15" y="2"/>
                  </a:lnTo>
                  <a:lnTo>
                    <a:pt x="16" y="13"/>
                  </a:lnTo>
                  <a:lnTo>
                    <a:pt x="17" y="13"/>
                  </a:lnTo>
                  <a:cubicBezTo>
                    <a:pt x="20" y="9"/>
                    <a:pt x="24" y="6"/>
                    <a:pt x="28" y="4"/>
                  </a:cubicBezTo>
                  <a:cubicBezTo>
                    <a:pt x="32" y="2"/>
                    <a:pt x="36" y="0"/>
                    <a:pt x="41" y="0"/>
                  </a:cubicBezTo>
                  <a:cubicBezTo>
                    <a:pt x="46" y="0"/>
                    <a:pt x="51" y="2"/>
                    <a:pt x="54" y="4"/>
                  </a:cubicBezTo>
                  <a:cubicBezTo>
                    <a:pt x="58" y="6"/>
                    <a:pt x="61" y="10"/>
                    <a:pt x="62" y="14"/>
                  </a:cubicBezTo>
                  <a:cubicBezTo>
                    <a:pt x="66" y="10"/>
                    <a:pt x="70" y="7"/>
                    <a:pt x="74" y="4"/>
                  </a:cubicBezTo>
                  <a:cubicBezTo>
                    <a:pt x="78" y="2"/>
                    <a:pt x="82" y="0"/>
                    <a:pt x="87" y="0"/>
                  </a:cubicBezTo>
                  <a:cubicBezTo>
                    <a:pt x="96" y="0"/>
                    <a:pt x="102" y="3"/>
                    <a:pt x="106" y="8"/>
                  </a:cubicBezTo>
                  <a:cubicBezTo>
                    <a:pt x="109" y="14"/>
                    <a:pt x="111" y="21"/>
                    <a:pt x="111" y="31"/>
                  </a:cubicBezTo>
                  <a:lnTo>
                    <a:pt x="111" y="80"/>
                  </a:lnTo>
                  <a:lnTo>
                    <a:pt x="93" y="80"/>
                  </a:lnTo>
                  <a:lnTo>
                    <a:pt x="93" y="34"/>
                  </a:lnTo>
                  <a:cubicBezTo>
                    <a:pt x="93" y="27"/>
                    <a:pt x="92" y="23"/>
                    <a:pt x="90" y="20"/>
                  </a:cubicBezTo>
                  <a:cubicBezTo>
                    <a:pt x="88" y="17"/>
                    <a:pt x="85" y="16"/>
                    <a:pt x="81" y="16"/>
                  </a:cubicBezTo>
                  <a:cubicBezTo>
                    <a:pt x="76" y="16"/>
                    <a:pt x="71" y="19"/>
                    <a:pt x="65" y="26"/>
                  </a:cubicBezTo>
                  <a:lnTo>
                    <a:pt x="65" y="80"/>
                  </a:lnTo>
                  <a:lnTo>
                    <a:pt x="47" y="80"/>
                  </a:lnTo>
                  <a:lnTo>
                    <a:pt x="47" y="34"/>
                  </a:lnTo>
                  <a:cubicBezTo>
                    <a:pt x="47" y="27"/>
                    <a:pt x="46" y="23"/>
                    <a:pt x="44" y="20"/>
                  </a:cubicBezTo>
                  <a:cubicBezTo>
                    <a:pt x="42" y="17"/>
                    <a:pt x="39" y="16"/>
                    <a:pt x="35" y="16"/>
                  </a:cubicBezTo>
                  <a:cubicBezTo>
                    <a:pt x="30" y="16"/>
                    <a:pt x="24" y="19"/>
                    <a:pt x="18" y="26"/>
                  </a:cubicBezTo>
                  <a:lnTo>
                    <a:pt x="18" y="80"/>
                  </a:lnTo>
                  <a:lnTo>
                    <a:pt x="0" y="80"/>
                  </a:lnTo>
                  <a:lnTo>
                    <a:pt x="0" y="2"/>
                  </a:lnTo>
                </a:path>
              </a:pathLst>
            </a:custGeom>
            <a:solidFill>
              <a:srgbClr val="0068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68">
              <a:extLst>
                <a:ext uri="{FF2B5EF4-FFF2-40B4-BE49-F238E27FC236}">
                  <a16:creationId xmlns:a16="http://schemas.microsoft.com/office/drawing/2014/main" id="{EF268BED-D895-4FDD-AD8F-90BE3314E7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19271" y="2214429"/>
              <a:ext cx="60450" cy="82721"/>
            </a:xfrm>
            <a:custGeom>
              <a:avLst/>
              <a:gdLst>
                <a:gd name="T0" fmla="*/ 33 w 75"/>
                <a:gd name="T1" fmla="*/ 90 h 104"/>
                <a:gd name="T2" fmla="*/ 51 w 75"/>
                <a:gd name="T3" fmla="*/ 86 h 104"/>
                <a:gd name="T4" fmla="*/ 57 w 75"/>
                <a:gd name="T5" fmla="*/ 72 h 104"/>
                <a:gd name="T6" fmla="*/ 51 w 75"/>
                <a:gd name="T7" fmla="*/ 60 h 104"/>
                <a:gd name="T8" fmla="*/ 33 w 75"/>
                <a:gd name="T9" fmla="*/ 57 h 104"/>
                <a:gd name="T10" fmla="*/ 18 w 75"/>
                <a:gd name="T11" fmla="*/ 57 h 104"/>
                <a:gd name="T12" fmla="*/ 18 w 75"/>
                <a:gd name="T13" fmla="*/ 90 h 104"/>
                <a:gd name="T14" fmla="*/ 33 w 75"/>
                <a:gd name="T15" fmla="*/ 90 h 104"/>
                <a:gd name="T16" fmla="*/ 31 w 75"/>
                <a:gd name="T17" fmla="*/ 43 h 104"/>
                <a:gd name="T18" fmla="*/ 47 w 75"/>
                <a:gd name="T19" fmla="*/ 39 h 104"/>
                <a:gd name="T20" fmla="*/ 52 w 75"/>
                <a:gd name="T21" fmla="*/ 28 h 104"/>
                <a:gd name="T22" fmla="*/ 47 w 75"/>
                <a:gd name="T23" fmla="*/ 18 h 104"/>
                <a:gd name="T24" fmla="*/ 31 w 75"/>
                <a:gd name="T25" fmla="*/ 15 h 104"/>
                <a:gd name="T26" fmla="*/ 18 w 75"/>
                <a:gd name="T27" fmla="*/ 15 h 104"/>
                <a:gd name="T28" fmla="*/ 18 w 75"/>
                <a:gd name="T29" fmla="*/ 43 h 104"/>
                <a:gd name="T30" fmla="*/ 31 w 75"/>
                <a:gd name="T31" fmla="*/ 43 h 104"/>
                <a:gd name="T32" fmla="*/ 0 w 75"/>
                <a:gd name="T33" fmla="*/ 0 h 104"/>
                <a:gd name="T34" fmla="*/ 33 w 75"/>
                <a:gd name="T35" fmla="*/ 0 h 104"/>
                <a:gd name="T36" fmla="*/ 47 w 75"/>
                <a:gd name="T37" fmla="*/ 2 h 104"/>
                <a:gd name="T38" fmla="*/ 59 w 75"/>
                <a:gd name="T39" fmla="*/ 6 h 104"/>
                <a:gd name="T40" fmla="*/ 67 w 75"/>
                <a:gd name="T41" fmla="*/ 14 h 104"/>
                <a:gd name="T42" fmla="*/ 70 w 75"/>
                <a:gd name="T43" fmla="*/ 26 h 104"/>
                <a:gd name="T44" fmla="*/ 65 w 75"/>
                <a:gd name="T45" fmla="*/ 40 h 104"/>
                <a:gd name="T46" fmla="*/ 52 w 75"/>
                <a:gd name="T47" fmla="*/ 48 h 104"/>
                <a:gd name="T48" fmla="*/ 52 w 75"/>
                <a:gd name="T49" fmla="*/ 49 h 104"/>
                <a:gd name="T50" fmla="*/ 69 w 75"/>
                <a:gd name="T51" fmla="*/ 57 h 104"/>
                <a:gd name="T52" fmla="*/ 75 w 75"/>
                <a:gd name="T53" fmla="*/ 74 h 104"/>
                <a:gd name="T54" fmla="*/ 72 w 75"/>
                <a:gd name="T55" fmla="*/ 87 h 104"/>
                <a:gd name="T56" fmla="*/ 64 w 75"/>
                <a:gd name="T57" fmla="*/ 97 h 104"/>
                <a:gd name="T58" fmla="*/ 51 w 75"/>
                <a:gd name="T59" fmla="*/ 102 h 104"/>
                <a:gd name="T60" fmla="*/ 35 w 75"/>
                <a:gd name="T61" fmla="*/ 104 h 104"/>
                <a:gd name="T62" fmla="*/ 0 w 75"/>
                <a:gd name="T63" fmla="*/ 104 h 104"/>
                <a:gd name="T64" fmla="*/ 0 w 75"/>
                <a:gd name="T6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5" h="104">
                  <a:moveTo>
                    <a:pt x="33" y="90"/>
                  </a:moveTo>
                  <a:cubicBezTo>
                    <a:pt x="41" y="90"/>
                    <a:pt x="47" y="88"/>
                    <a:pt x="51" y="86"/>
                  </a:cubicBezTo>
                  <a:cubicBezTo>
                    <a:pt x="55" y="83"/>
                    <a:pt x="57" y="78"/>
                    <a:pt x="57" y="72"/>
                  </a:cubicBezTo>
                  <a:cubicBezTo>
                    <a:pt x="57" y="67"/>
                    <a:pt x="55" y="63"/>
                    <a:pt x="51" y="60"/>
                  </a:cubicBezTo>
                  <a:cubicBezTo>
                    <a:pt x="47" y="58"/>
                    <a:pt x="41" y="57"/>
                    <a:pt x="33" y="57"/>
                  </a:cubicBezTo>
                  <a:lnTo>
                    <a:pt x="18" y="57"/>
                  </a:lnTo>
                  <a:lnTo>
                    <a:pt x="18" y="90"/>
                  </a:lnTo>
                  <a:lnTo>
                    <a:pt x="33" y="90"/>
                  </a:lnTo>
                  <a:close/>
                  <a:moveTo>
                    <a:pt x="31" y="43"/>
                  </a:moveTo>
                  <a:cubicBezTo>
                    <a:pt x="38" y="43"/>
                    <a:pt x="44" y="42"/>
                    <a:pt x="47" y="39"/>
                  </a:cubicBezTo>
                  <a:cubicBezTo>
                    <a:pt x="50" y="37"/>
                    <a:pt x="52" y="33"/>
                    <a:pt x="52" y="28"/>
                  </a:cubicBezTo>
                  <a:cubicBezTo>
                    <a:pt x="52" y="23"/>
                    <a:pt x="50" y="20"/>
                    <a:pt x="47" y="18"/>
                  </a:cubicBezTo>
                  <a:cubicBezTo>
                    <a:pt x="43" y="16"/>
                    <a:pt x="38" y="15"/>
                    <a:pt x="31" y="15"/>
                  </a:cubicBezTo>
                  <a:lnTo>
                    <a:pt x="18" y="15"/>
                  </a:lnTo>
                  <a:lnTo>
                    <a:pt x="18" y="43"/>
                  </a:lnTo>
                  <a:lnTo>
                    <a:pt x="31" y="43"/>
                  </a:lnTo>
                  <a:close/>
                  <a:moveTo>
                    <a:pt x="0" y="0"/>
                  </a:moveTo>
                  <a:lnTo>
                    <a:pt x="33" y="0"/>
                  </a:lnTo>
                  <a:cubicBezTo>
                    <a:pt x="38" y="0"/>
                    <a:pt x="43" y="1"/>
                    <a:pt x="47" y="2"/>
                  </a:cubicBezTo>
                  <a:cubicBezTo>
                    <a:pt x="52" y="3"/>
                    <a:pt x="56" y="4"/>
                    <a:pt x="59" y="6"/>
                  </a:cubicBezTo>
                  <a:cubicBezTo>
                    <a:pt x="63" y="8"/>
                    <a:pt x="65" y="11"/>
                    <a:pt x="67" y="14"/>
                  </a:cubicBezTo>
                  <a:cubicBezTo>
                    <a:pt x="69" y="17"/>
                    <a:pt x="70" y="21"/>
                    <a:pt x="70" y="26"/>
                  </a:cubicBezTo>
                  <a:cubicBezTo>
                    <a:pt x="70" y="31"/>
                    <a:pt x="68" y="36"/>
                    <a:pt x="65" y="40"/>
                  </a:cubicBezTo>
                  <a:cubicBezTo>
                    <a:pt x="62" y="44"/>
                    <a:pt x="58" y="47"/>
                    <a:pt x="52" y="48"/>
                  </a:cubicBezTo>
                  <a:lnTo>
                    <a:pt x="52" y="49"/>
                  </a:lnTo>
                  <a:cubicBezTo>
                    <a:pt x="59" y="50"/>
                    <a:pt x="65" y="53"/>
                    <a:pt x="69" y="57"/>
                  </a:cubicBezTo>
                  <a:cubicBezTo>
                    <a:pt x="73" y="61"/>
                    <a:pt x="75" y="67"/>
                    <a:pt x="75" y="74"/>
                  </a:cubicBezTo>
                  <a:cubicBezTo>
                    <a:pt x="75" y="79"/>
                    <a:pt x="74" y="83"/>
                    <a:pt x="72" y="87"/>
                  </a:cubicBezTo>
                  <a:cubicBezTo>
                    <a:pt x="70" y="91"/>
                    <a:pt x="67" y="94"/>
                    <a:pt x="64" y="97"/>
                  </a:cubicBezTo>
                  <a:cubicBezTo>
                    <a:pt x="60" y="99"/>
                    <a:pt x="56" y="101"/>
                    <a:pt x="51" y="102"/>
                  </a:cubicBezTo>
                  <a:cubicBezTo>
                    <a:pt x="46" y="103"/>
                    <a:pt x="41" y="104"/>
                    <a:pt x="35" y="104"/>
                  </a:cubicBezTo>
                  <a:lnTo>
                    <a:pt x="0" y="104"/>
                  </a:lnTo>
                  <a:lnTo>
                    <a:pt x="0" y="0"/>
                  </a:lnTo>
                </a:path>
              </a:pathLst>
            </a:custGeom>
            <a:solidFill>
              <a:srgbClr val="0068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69">
              <a:extLst>
                <a:ext uri="{FF2B5EF4-FFF2-40B4-BE49-F238E27FC236}">
                  <a16:creationId xmlns:a16="http://schemas.microsoft.com/office/drawing/2014/main" id="{31218D3E-6A60-43D7-910C-0646D23FF9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94038" y="2214429"/>
              <a:ext cx="62041" cy="82721"/>
            </a:xfrm>
            <a:custGeom>
              <a:avLst/>
              <a:gdLst>
                <a:gd name="T0" fmla="*/ 27 w 78"/>
                <a:gd name="T1" fmla="*/ 89 h 104"/>
                <a:gd name="T2" fmla="*/ 51 w 78"/>
                <a:gd name="T3" fmla="*/ 80 h 104"/>
                <a:gd name="T4" fmla="*/ 59 w 78"/>
                <a:gd name="T5" fmla="*/ 52 h 104"/>
                <a:gd name="T6" fmla="*/ 51 w 78"/>
                <a:gd name="T7" fmla="*/ 24 h 104"/>
                <a:gd name="T8" fmla="*/ 27 w 78"/>
                <a:gd name="T9" fmla="*/ 15 h 104"/>
                <a:gd name="T10" fmla="*/ 18 w 78"/>
                <a:gd name="T11" fmla="*/ 15 h 104"/>
                <a:gd name="T12" fmla="*/ 18 w 78"/>
                <a:gd name="T13" fmla="*/ 89 h 104"/>
                <a:gd name="T14" fmla="*/ 27 w 78"/>
                <a:gd name="T15" fmla="*/ 89 h 104"/>
                <a:gd name="T16" fmla="*/ 0 w 78"/>
                <a:gd name="T17" fmla="*/ 0 h 104"/>
                <a:gd name="T18" fmla="*/ 28 w 78"/>
                <a:gd name="T19" fmla="*/ 0 h 104"/>
                <a:gd name="T20" fmla="*/ 65 w 78"/>
                <a:gd name="T21" fmla="*/ 13 h 104"/>
                <a:gd name="T22" fmla="*/ 78 w 78"/>
                <a:gd name="T23" fmla="*/ 52 h 104"/>
                <a:gd name="T24" fmla="*/ 75 w 78"/>
                <a:gd name="T25" fmla="*/ 74 h 104"/>
                <a:gd name="T26" fmla="*/ 65 w 78"/>
                <a:gd name="T27" fmla="*/ 91 h 104"/>
                <a:gd name="T28" fmla="*/ 49 w 78"/>
                <a:gd name="T29" fmla="*/ 101 h 104"/>
                <a:gd name="T30" fmla="*/ 29 w 78"/>
                <a:gd name="T31" fmla="*/ 104 h 104"/>
                <a:gd name="T32" fmla="*/ 0 w 78"/>
                <a:gd name="T33" fmla="*/ 104 h 104"/>
                <a:gd name="T34" fmla="*/ 0 w 78"/>
                <a:gd name="T3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4">
                  <a:moveTo>
                    <a:pt x="27" y="89"/>
                  </a:moveTo>
                  <a:cubicBezTo>
                    <a:pt x="37" y="89"/>
                    <a:pt x="45" y="86"/>
                    <a:pt x="51" y="80"/>
                  </a:cubicBezTo>
                  <a:cubicBezTo>
                    <a:pt x="57" y="74"/>
                    <a:pt x="59" y="65"/>
                    <a:pt x="59" y="52"/>
                  </a:cubicBezTo>
                  <a:cubicBezTo>
                    <a:pt x="59" y="39"/>
                    <a:pt x="56" y="30"/>
                    <a:pt x="51" y="24"/>
                  </a:cubicBezTo>
                  <a:cubicBezTo>
                    <a:pt x="45" y="18"/>
                    <a:pt x="37" y="15"/>
                    <a:pt x="27" y="15"/>
                  </a:cubicBezTo>
                  <a:lnTo>
                    <a:pt x="18" y="15"/>
                  </a:lnTo>
                  <a:lnTo>
                    <a:pt x="18" y="89"/>
                  </a:lnTo>
                  <a:lnTo>
                    <a:pt x="27" y="89"/>
                  </a:lnTo>
                  <a:close/>
                  <a:moveTo>
                    <a:pt x="0" y="0"/>
                  </a:moveTo>
                  <a:lnTo>
                    <a:pt x="28" y="0"/>
                  </a:lnTo>
                  <a:cubicBezTo>
                    <a:pt x="44" y="0"/>
                    <a:pt x="56" y="5"/>
                    <a:pt x="65" y="13"/>
                  </a:cubicBezTo>
                  <a:cubicBezTo>
                    <a:pt x="74" y="22"/>
                    <a:pt x="78" y="35"/>
                    <a:pt x="78" y="52"/>
                  </a:cubicBezTo>
                  <a:cubicBezTo>
                    <a:pt x="78" y="60"/>
                    <a:pt x="77" y="68"/>
                    <a:pt x="75" y="74"/>
                  </a:cubicBezTo>
                  <a:cubicBezTo>
                    <a:pt x="73" y="81"/>
                    <a:pt x="69" y="86"/>
                    <a:pt x="65" y="91"/>
                  </a:cubicBezTo>
                  <a:cubicBezTo>
                    <a:pt x="61" y="95"/>
                    <a:pt x="56" y="98"/>
                    <a:pt x="49" y="101"/>
                  </a:cubicBezTo>
                  <a:cubicBezTo>
                    <a:pt x="43" y="103"/>
                    <a:pt x="36" y="104"/>
                    <a:pt x="29" y="104"/>
                  </a:cubicBezTo>
                  <a:lnTo>
                    <a:pt x="0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8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70">
              <a:extLst>
                <a:ext uri="{FF2B5EF4-FFF2-40B4-BE49-F238E27FC236}">
                  <a16:creationId xmlns:a16="http://schemas.microsoft.com/office/drawing/2014/main" id="{0225BA9A-7030-4862-B91A-67E6110E10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3577" y="2214429"/>
              <a:ext cx="50905" cy="82721"/>
            </a:xfrm>
            <a:custGeom>
              <a:avLst/>
              <a:gdLst>
                <a:gd name="T0" fmla="*/ 0 w 32"/>
                <a:gd name="T1" fmla="*/ 0 h 52"/>
                <a:gd name="T2" fmla="*/ 31 w 32"/>
                <a:gd name="T3" fmla="*/ 0 h 52"/>
                <a:gd name="T4" fmla="*/ 31 w 32"/>
                <a:gd name="T5" fmla="*/ 8 h 52"/>
                <a:gd name="T6" fmla="*/ 9 w 32"/>
                <a:gd name="T7" fmla="*/ 8 h 52"/>
                <a:gd name="T8" fmla="*/ 9 w 32"/>
                <a:gd name="T9" fmla="*/ 21 h 52"/>
                <a:gd name="T10" fmla="*/ 28 w 32"/>
                <a:gd name="T11" fmla="*/ 21 h 52"/>
                <a:gd name="T12" fmla="*/ 28 w 32"/>
                <a:gd name="T13" fmla="*/ 29 h 52"/>
                <a:gd name="T14" fmla="*/ 9 w 32"/>
                <a:gd name="T15" fmla="*/ 29 h 52"/>
                <a:gd name="T16" fmla="*/ 9 w 32"/>
                <a:gd name="T17" fmla="*/ 45 h 52"/>
                <a:gd name="T18" fmla="*/ 32 w 32"/>
                <a:gd name="T19" fmla="*/ 45 h 52"/>
                <a:gd name="T20" fmla="*/ 32 w 32"/>
                <a:gd name="T21" fmla="*/ 52 h 52"/>
                <a:gd name="T22" fmla="*/ 0 w 32"/>
                <a:gd name="T23" fmla="*/ 52 h 52"/>
                <a:gd name="T24" fmla="*/ 0 w 32"/>
                <a:gd name="T2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52">
                  <a:moveTo>
                    <a:pt x="0" y="0"/>
                  </a:moveTo>
                  <a:lnTo>
                    <a:pt x="31" y="0"/>
                  </a:lnTo>
                  <a:lnTo>
                    <a:pt x="31" y="8"/>
                  </a:lnTo>
                  <a:lnTo>
                    <a:pt x="9" y="8"/>
                  </a:lnTo>
                  <a:lnTo>
                    <a:pt x="9" y="21"/>
                  </a:lnTo>
                  <a:lnTo>
                    <a:pt x="28" y="21"/>
                  </a:lnTo>
                  <a:lnTo>
                    <a:pt x="28" y="29"/>
                  </a:lnTo>
                  <a:lnTo>
                    <a:pt x="9" y="29"/>
                  </a:lnTo>
                  <a:lnTo>
                    <a:pt x="9" y="45"/>
                  </a:lnTo>
                  <a:lnTo>
                    <a:pt x="32" y="45"/>
                  </a:lnTo>
                  <a:lnTo>
                    <a:pt x="32" y="52"/>
                  </a:lnTo>
                  <a:lnTo>
                    <a:pt x="0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8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71">
              <a:extLst>
                <a:ext uri="{FF2B5EF4-FFF2-40B4-BE49-F238E27FC236}">
                  <a16:creationId xmlns:a16="http://schemas.microsoft.com/office/drawing/2014/main" id="{13B0C8EC-61E8-43B3-B464-7035D33A0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2437" y="2214429"/>
              <a:ext cx="97038" cy="82721"/>
            </a:xfrm>
            <a:custGeom>
              <a:avLst/>
              <a:gdLst>
                <a:gd name="T0" fmla="*/ 0 w 121"/>
                <a:gd name="T1" fmla="*/ 0 h 104"/>
                <a:gd name="T2" fmla="*/ 19 w 121"/>
                <a:gd name="T3" fmla="*/ 0 h 104"/>
                <a:gd name="T4" fmla="*/ 28 w 121"/>
                <a:gd name="T5" fmla="*/ 53 h 104"/>
                <a:gd name="T6" fmla="*/ 30 w 121"/>
                <a:gd name="T7" fmla="*/ 69 h 104"/>
                <a:gd name="T8" fmla="*/ 33 w 121"/>
                <a:gd name="T9" fmla="*/ 86 h 104"/>
                <a:gd name="T10" fmla="*/ 34 w 121"/>
                <a:gd name="T11" fmla="*/ 86 h 104"/>
                <a:gd name="T12" fmla="*/ 37 w 121"/>
                <a:gd name="T13" fmla="*/ 69 h 104"/>
                <a:gd name="T14" fmla="*/ 40 w 121"/>
                <a:gd name="T15" fmla="*/ 53 h 104"/>
                <a:gd name="T16" fmla="*/ 53 w 121"/>
                <a:gd name="T17" fmla="*/ 0 h 104"/>
                <a:gd name="T18" fmla="*/ 69 w 121"/>
                <a:gd name="T19" fmla="*/ 0 h 104"/>
                <a:gd name="T20" fmla="*/ 82 w 121"/>
                <a:gd name="T21" fmla="*/ 53 h 104"/>
                <a:gd name="T22" fmla="*/ 85 w 121"/>
                <a:gd name="T23" fmla="*/ 69 h 104"/>
                <a:gd name="T24" fmla="*/ 89 w 121"/>
                <a:gd name="T25" fmla="*/ 86 h 104"/>
                <a:gd name="T26" fmla="*/ 89 w 121"/>
                <a:gd name="T27" fmla="*/ 86 h 104"/>
                <a:gd name="T28" fmla="*/ 92 w 121"/>
                <a:gd name="T29" fmla="*/ 69 h 104"/>
                <a:gd name="T30" fmla="*/ 94 w 121"/>
                <a:gd name="T31" fmla="*/ 53 h 104"/>
                <a:gd name="T32" fmla="*/ 103 w 121"/>
                <a:gd name="T33" fmla="*/ 0 h 104"/>
                <a:gd name="T34" fmla="*/ 121 w 121"/>
                <a:gd name="T35" fmla="*/ 0 h 104"/>
                <a:gd name="T36" fmla="*/ 101 w 121"/>
                <a:gd name="T37" fmla="*/ 104 h 104"/>
                <a:gd name="T38" fmla="*/ 78 w 121"/>
                <a:gd name="T39" fmla="*/ 104 h 104"/>
                <a:gd name="T40" fmla="*/ 65 w 121"/>
                <a:gd name="T41" fmla="*/ 50 h 104"/>
                <a:gd name="T42" fmla="*/ 63 w 121"/>
                <a:gd name="T43" fmla="*/ 38 h 104"/>
                <a:gd name="T44" fmla="*/ 61 w 121"/>
                <a:gd name="T45" fmla="*/ 26 h 104"/>
                <a:gd name="T46" fmla="*/ 60 w 121"/>
                <a:gd name="T47" fmla="*/ 26 h 104"/>
                <a:gd name="T48" fmla="*/ 58 w 121"/>
                <a:gd name="T49" fmla="*/ 38 h 104"/>
                <a:gd name="T50" fmla="*/ 55 w 121"/>
                <a:gd name="T51" fmla="*/ 50 h 104"/>
                <a:gd name="T52" fmla="*/ 43 w 121"/>
                <a:gd name="T53" fmla="*/ 104 h 104"/>
                <a:gd name="T54" fmla="*/ 21 w 121"/>
                <a:gd name="T55" fmla="*/ 104 h 104"/>
                <a:gd name="T56" fmla="*/ 0 w 121"/>
                <a:gd name="T5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1" h="104">
                  <a:moveTo>
                    <a:pt x="0" y="0"/>
                  </a:moveTo>
                  <a:lnTo>
                    <a:pt x="19" y="0"/>
                  </a:lnTo>
                  <a:lnTo>
                    <a:pt x="28" y="53"/>
                  </a:lnTo>
                  <a:cubicBezTo>
                    <a:pt x="29" y="58"/>
                    <a:pt x="30" y="64"/>
                    <a:pt x="30" y="69"/>
                  </a:cubicBezTo>
                  <a:cubicBezTo>
                    <a:pt x="31" y="75"/>
                    <a:pt x="32" y="80"/>
                    <a:pt x="33" y="86"/>
                  </a:cubicBezTo>
                  <a:lnTo>
                    <a:pt x="34" y="86"/>
                  </a:lnTo>
                  <a:cubicBezTo>
                    <a:pt x="35" y="80"/>
                    <a:pt x="36" y="75"/>
                    <a:pt x="37" y="69"/>
                  </a:cubicBezTo>
                  <a:cubicBezTo>
                    <a:pt x="38" y="64"/>
                    <a:pt x="39" y="58"/>
                    <a:pt x="40" y="53"/>
                  </a:cubicBezTo>
                  <a:lnTo>
                    <a:pt x="53" y="0"/>
                  </a:lnTo>
                  <a:lnTo>
                    <a:pt x="69" y="0"/>
                  </a:lnTo>
                  <a:lnTo>
                    <a:pt x="82" y="53"/>
                  </a:lnTo>
                  <a:cubicBezTo>
                    <a:pt x="83" y="58"/>
                    <a:pt x="84" y="64"/>
                    <a:pt x="85" y="69"/>
                  </a:cubicBezTo>
                  <a:cubicBezTo>
                    <a:pt x="86" y="75"/>
                    <a:pt x="87" y="80"/>
                    <a:pt x="89" y="86"/>
                  </a:cubicBezTo>
                  <a:lnTo>
                    <a:pt x="89" y="86"/>
                  </a:lnTo>
                  <a:cubicBezTo>
                    <a:pt x="90" y="80"/>
                    <a:pt x="91" y="75"/>
                    <a:pt x="92" y="69"/>
                  </a:cubicBezTo>
                  <a:cubicBezTo>
                    <a:pt x="93" y="64"/>
                    <a:pt x="93" y="58"/>
                    <a:pt x="94" y="53"/>
                  </a:cubicBezTo>
                  <a:lnTo>
                    <a:pt x="103" y="0"/>
                  </a:lnTo>
                  <a:lnTo>
                    <a:pt x="121" y="0"/>
                  </a:lnTo>
                  <a:lnTo>
                    <a:pt x="101" y="104"/>
                  </a:lnTo>
                  <a:lnTo>
                    <a:pt x="78" y="104"/>
                  </a:lnTo>
                  <a:lnTo>
                    <a:pt x="65" y="50"/>
                  </a:lnTo>
                  <a:cubicBezTo>
                    <a:pt x="65" y="46"/>
                    <a:pt x="64" y="42"/>
                    <a:pt x="63" y="38"/>
                  </a:cubicBezTo>
                  <a:cubicBezTo>
                    <a:pt x="62" y="34"/>
                    <a:pt x="61" y="30"/>
                    <a:pt x="61" y="26"/>
                  </a:cubicBezTo>
                  <a:lnTo>
                    <a:pt x="60" y="26"/>
                  </a:lnTo>
                  <a:cubicBezTo>
                    <a:pt x="59" y="30"/>
                    <a:pt x="59" y="34"/>
                    <a:pt x="58" y="38"/>
                  </a:cubicBezTo>
                  <a:cubicBezTo>
                    <a:pt x="57" y="42"/>
                    <a:pt x="56" y="46"/>
                    <a:pt x="55" y="50"/>
                  </a:cubicBezTo>
                  <a:lnTo>
                    <a:pt x="43" y="104"/>
                  </a:lnTo>
                  <a:lnTo>
                    <a:pt x="21" y="104"/>
                  </a:lnTo>
                  <a:lnTo>
                    <a:pt x="0" y="0"/>
                  </a:lnTo>
                </a:path>
              </a:pathLst>
            </a:custGeom>
            <a:solidFill>
              <a:srgbClr val="0068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38" name="Textplatzhalter 4">
            <a:extLst>
              <a:ext uri="{FF2B5EF4-FFF2-40B4-BE49-F238E27FC236}">
                <a16:creationId xmlns:a16="http://schemas.microsoft.com/office/drawing/2014/main" id="{374E1D9A-29E4-497F-BA0C-F79AB0910B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9655" y="2844981"/>
            <a:ext cx="3024000" cy="144000"/>
          </a:xfrm>
        </p:spPr>
        <p:txBody>
          <a:bodyPr/>
          <a:lstStyle>
            <a:lvl1pPr>
              <a:buNone/>
              <a:defRPr sz="1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de-DE" dirty="0"/>
              <a:t>Quelle hinzufügen</a:t>
            </a:r>
          </a:p>
        </p:txBody>
      </p:sp>
    </p:spTree>
    <p:extLst>
      <p:ext uri="{BB962C8B-B14F-4D97-AF65-F5344CB8AC3E}">
        <p14:creationId xmlns:p14="http://schemas.microsoft.com/office/powerpoint/2010/main" val="3252458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05">
          <p15:clr>
            <a:srgbClr val="FBAE40"/>
          </p15:clr>
        </p15:guide>
        <p15:guide id="3" pos="90">
          <p15:clr>
            <a:srgbClr val="FBAE40"/>
          </p15:clr>
        </p15:guide>
        <p15:guide id="4" pos="5715">
          <p15:clr>
            <a:srgbClr val="FBAE40"/>
          </p15:clr>
        </p15:guide>
        <p15:guide id="5" orient="horz" pos="9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80B651-FA77-43FF-A552-95A5EF8C90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1255" y="2808515"/>
            <a:ext cx="6480719" cy="864000"/>
          </a:xfrm>
        </p:spPr>
        <p:txBody>
          <a:bodyPr wrap="square"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 b="1">
                <a:solidFill>
                  <a:schemeClr val="bg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2047FA1-05E6-4914-9E1F-9171B3BD67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1256" y="3888000"/>
            <a:ext cx="6480000" cy="648000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b="0">
                <a:solidFill>
                  <a:schemeClr val="tx1"/>
                </a:solidFill>
              </a:defRPr>
            </a:lvl1pPr>
            <a:lvl2pPr marL="345578" indent="0" algn="ctr">
              <a:buNone/>
              <a:defRPr sz="1512"/>
            </a:lvl2pPr>
            <a:lvl3pPr marL="691157" indent="0" algn="ctr">
              <a:buNone/>
              <a:defRPr sz="1360"/>
            </a:lvl3pPr>
            <a:lvl4pPr marL="1036735" indent="0" algn="ctr">
              <a:buNone/>
              <a:defRPr sz="1209"/>
            </a:lvl4pPr>
            <a:lvl5pPr marL="1382316" indent="0" algn="ctr">
              <a:buNone/>
              <a:defRPr sz="1209"/>
            </a:lvl5pPr>
            <a:lvl6pPr marL="1727893" indent="0" algn="ctr">
              <a:buNone/>
              <a:defRPr sz="1209"/>
            </a:lvl6pPr>
            <a:lvl7pPr marL="2073473" indent="0" algn="ctr">
              <a:buNone/>
              <a:defRPr sz="1209"/>
            </a:lvl7pPr>
            <a:lvl8pPr marL="2419051" indent="0" algn="ctr">
              <a:buNone/>
              <a:defRPr sz="1209"/>
            </a:lvl8pPr>
            <a:lvl9pPr marL="2764630" indent="0" algn="ctr">
              <a:buNone/>
              <a:defRPr sz="1209"/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2E03B2E-D379-4F2F-B8A8-821AC7247E6E}"/>
              </a:ext>
            </a:extLst>
          </p:cNvPr>
          <p:cNvSpPr/>
          <p:nvPr/>
        </p:nvSpPr>
        <p:spPr>
          <a:xfrm>
            <a:off x="143223" y="144115"/>
            <a:ext cx="8928000" cy="4896000"/>
          </a:xfrm>
          <a:prstGeom prst="rect">
            <a:avLst/>
          </a:prstGeom>
          <a:noFill/>
          <a:ln>
            <a:solidFill>
              <a:srgbClr val="C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36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31ADE1F-3339-4E57-AF5F-0ABBE14A423A}"/>
              </a:ext>
            </a:extLst>
          </p:cNvPr>
          <p:cNvSpPr txBox="1"/>
          <p:nvPr/>
        </p:nvSpPr>
        <p:spPr>
          <a:xfrm>
            <a:off x="431799" y="4680000"/>
            <a:ext cx="2880001" cy="144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de-DE" sz="800" dirty="0">
                <a:solidFill>
                  <a:schemeClr val="accent3"/>
                </a:solidFill>
              </a:rPr>
              <a:t>© BDEW Bundesverband der Energie- und Wasserwirtschaft e.V.</a:t>
            </a:r>
            <a:endParaRPr lang="de-DE" sz="1360" dirty="0">
              <a:solidFill>
                <a:schemeClr val="accent3"/>
              </a:solidFill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6F2CC88-6078-4650-B10F-62DED028F23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71990" y="576162"/>
            <a:ext cx="1800225" cy="1224000"/>
            <a:chOff x="7271990" y="576162"/>
            <a:chExt cx="1800225" cy="1224000"/>
          </a:xfrm>
        </p:grpSpPr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32F28EF8-2B04-45C2-9B26-9510F48E349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71990" y="576162"/>
              <a:ext cx="1800225" cy="1224000"/>
            </a:xfrm>
            <a:prstGeom prst="rect">
              <a:avLst/>
            </a:prstGeom>
            <a:solidFill>
              <a:srgbClr val="C2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94932683-290B-4B67-BDD9-C6197234B468}"/>
                </a:ext>
              </a:extLst>
            </p:cNvPr>
            <p:cNvGrpSpPr/>
            <p:nvPr/>
          </p:nvGrpSpPr>
          <p:grpSpPr bwMode="gray">
            <a:xfrm>
              <a:off x="7538786" y="868025"/>
              <a:ext cx="1244600" cy="646113"/>
              <a:chOff x="7538786" y="868025"/>
              <a:chExt cx="1244600" cy="646113"/>
            </a:xfrm>
          </p:grpSpPr>
          <p:sp>
            <p:nvSpPr>
              <p:cNvPr id="24" name="Freeform 38">
                <a:extLst>
                  <a:ext uri="{FF2B5EF4-FFF2-40B4-BE49-F238E27FC236}">
                    <a16:creationId xmlns:a16="http://schemas.microsoft.com/office/drawing/2014/main" id="{BE818EE1-0E3A-4362-8C48-4CCF6127AF8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1398250"/>
                <a:ext cx="1244600" cy="115888"/>
              </a:xfrm>
              <a:custGeom>
                <a:avLst/>
                <a:gdLst>
                  <a:gd name="T0" fmla="*/ 1559 w 1559"/>
                  <a:gd name="T1" fmla="*/ 104 h 146"/>
                  <a:gd name="T2" fmla="*/ 1471 w 1559"/>
                  <a:gd name="T3" fmla="*/ 48 h 146"/>
                  <a:gd name="T4" fmla="*/ 1472 w 1559"/>
                  <a:gd name="T5" fmla="*/ 114 h 146"/>
                  <a:gd name="T6" fmla="*/ 1518 w 1559"/>
                  <a:gd name="T7" fmla="*/ 114 h 146"/>
                  <a:gd name="T8" fmla="*/ 1433 w 1559"/>
                  <a:gd name="T9" fmla="*/ 74 h 146"/>
                  <a:gd name="T10" fmla="*/ 1431 w 1559"/>
                  <a:gd name="T11" fmla="*/ 92 h 146"/>
                  <a:gd name="T12" fmla="*/ 1332 w 1559"/>
                  <a:gd name="T13" fmla="*/ 75 h 146"/>
                  <a:gd name="T14" fmla="*/ 1332 w 1559"/>
                  <a:gd name="T15" fmla="*/ 75 h 146"/>
                  <a:gd name="T16" fmla="*/ 1304 w 1559"/>
                  <a:gd name="T17" fmla="*/ 2 h 146"/>
                  <a:gd name="T18" fmla="*/ 1303 w 1559"/>
                  <a:gd name="T19" fmla="*/ 108 h 146"/>
                  <a:gd name="T20" fmla="*/ 1232 w 1559"/>
                  <a:gd name="T21" fmla="*/ 51 h 146"/>
                  <a:gd name="T22" fmla="*/ 1231 w 1559"/>
                  <a:gd name="T23" fmla="*/ 115 h 146"/>
                  <a:gd name="T24" fmla="*/ 1265 w 1559"/>
                  <a:gd name="T25" fmla="*/ 80 h 146"/>
                  <a:gd name="T26" fmla="*/ 1145 w 1559"/>
                  <a:gd name="T27" fmla="*/ 11 h 146"/>
                  <a:gd name="T28" fmla="*/ 1061 w 1559"/>
                  <a:gd name="T29" fmla="*/ 92 h 146"/>
                  <a:gd name="T30" fmla="*/ 1044 w 1559"/>
                  <a:gd name="T31" fmla="*/ 37 h 146"/>
                  <a:gd name="T32" fmla="*/ 1008 w 1559"/>
                  <a:gd name="T33" fmla="*/ 56 h 146"/>
                  <a:gd name="T34" fmla="*/ 1051 w 1559"/>
                  <a:gd name="T35" fmla="*/ 54 h 146"/>
                  <a:gd name="T36" fmla="*/ 970 w 1559"/>
                  <a:gd name="T37" fmla="*/ 68 h 146"/>
                  <a:gd name="T38" fmla="*/ 989 w 1559"/>
                  <a:gd name="T39" fmla="*/ 108 h 146"/>
                  <a:gd name="T40" fmla="*/ 990 w 1559"/>
                  <a:gd name="T41" fmla="*/ 74 h 146"/>
                  <a:gd name="T42" fmla="*/ 906 w 1559"/>
                  <a:gd name="T43" fmla="*/ 57 h 146"/>
                  <a:gd name="T44" fmla="*/ 892 w 1559"/>
                  <a:gd name="T45" fmla="*/ 92 h 146"/>
                  <a:gd name="T46" fmla="*/ 911 w 1559"/>
                  <a:gd name="T47" fmla="*/ 91 h 146"/>
                  <a:gd name="T48" fmla="*/ 837 w 1559"/>
                  <a:gd name="T49" fmla="*/ 57 h 146"/>
                  <a:gd name="T50" fmla="*/ 823 w 1559"/>
                  <a:gd name="T51" fmla="*/ 92 h 146"/>
                  <a:gd name="T52" fmla="*/ 843 w 1559"/>
                  <a:gd name="T53" fmla="*/ 91 h 146"/>
                  <a:gd name="T54" fmla="*/ 749 w 1559"/>
                  <a:gd name="T55" fmla="*/ 80 h 146"/>
                  <a:gd name="T56" fmla="*/ 765 w 1559"/>
                  <a:gd name="T57" fmla="*/ 43 h 146"/>
                  <a:gd name="T58" fmla="*/ 749 w 1559"/>
                  <a:gd name="T59" fmla="*/ 61 h 146"/>
                  <a:gd name="T60" fmla="*/ 751 w 1559"/>
                  <a:gd name="T61" fmla="*/ 107 h 146"/>
                  <a:gd name="T62" fmla="*/ 667 w 1559"/>
                  <a:gd name="T63" fmla="*/ 61 h 146"/>
                  <a:gd name="T64" fmla="*/ 613 w 1559"/>
                  <a:gd name="T65" fmla="*/ 61 h 146"/>
                  <a:gd name="T66" fmla="*/ 597 w 1559"/>
                  <a:gd name="T67" fmla="*/ 114 h 146"/>
                  <a:gd name="T68" fmla="*/ 650 w 1559"/>
                  <a:gd name="T69" fmla="*/ 114 h 146"/>
                  <a:gd name="T70" fmla="*/ 512 w 1559"/>
                  <a:gd name="T71" fmla="*/ 104 h 146"/>
                  <a:gd name="T72" fmla="*/ 464 w 1559"/>
                  <a:gd name="T73" fmla="*/ 51 h 146"/>
                  <a:gd name="T74" fmla="*/ 462 w 1559"/>
                  <a:gd name="T75" fmla="*/ 115 h 146"/>
                  <a:gd name="T76" fmla="*/ 496 w 1559"/>
                  <a:gd name="T77" fmla="*/ 80 h 146"/>
                  <a:gd name="T78" fmla="*/ 393 w 1559"/>
                  <a:gd name="T79" fmla="*/ 38 h 146"/>
                  <a:gd name="T80" fmla="*/ 391 w 1559"/>
                  <a:gd name="T81" fmla="*/ 12 h 146"/>
                  <a:gd name="T82" fmla="*/ 326 w 1559"/>
                  <a:gd name="T83" fmla="*/ 75 h 146"/>
                  <a:gd name="T84" fmla="*/ 355 w 1559"/>
                  <a:gd name="T85" fmla="*/ 38 h 146"/>
                  <a:gd name="T86" fmla="*/ 353 w 1559"/>
                  <a:gd name="T87" fmla="*/ 103 h 146"/>
                  <a:gd name="T88" fmla="*/ 310 w 1559"/>
                  <a:gd name="T89" fmla="*/ 122 h 146"/>
                  <a:gd name="T90" fmla="*/ 373 w 1559"/>
                  <a:gd name="T91" fmla="*/ 56 h 146"/>
                  <a:gd name="T92" fmla="*/ 269 w 1559"/>
                  <a:gd name="T93" fmla="*/ 47 h 146"/>
                  <a:gd name="T94" fmla="*/ 270 w 1559"/>
                  <a:gd name="T95" fmla="*/ 114 h 146"/>
                  <a:gd name="T96" fmla="*/ 211 w 1559"/>
                  <a:gd name="T97" fmla="*/ 68 h 146"/>
                  <a:gd name="T98" fmla="*/ 198 w 1559"/>
                  <a:gd name="T99" fmla="*/ 36 h 146"/>
                  <a:gd name="T100" fmla="*/ 200 w 1559"/>
                  <a:gd name="T101" fmla="*/ 100 h 146"/>
                  <a:gd name="T102" fmla="*/ 148 w 1559"/>
                  <a:gd name="T103" fmla="*/ 62 h 146"/>
                  <a:gd name="T104" fmla="*/ 81 w 1559"/>
                  <a:gd name="T105" fmla="*/ 38 h 146"/>
                  <a:gd name="T106" fmla="*/ 119 w 1559"/>
                  <a:gd name="T107" fmla="*/ 54 h 146"/>
                  <a:gd name="T108" fmla="*/ 66 w 1559"/>
                  <a:gd name="T109" fmla="*/ 96 h 146"/>
                  <a:gd name="T110" fmla="*/ 21 w 1559"/>
                  <a:gd name="T111" fmla="*/ 52 h 146"/>
                  <a:gd name="T112" fmla="*/ 0 w 1559"/>
                  <a:gd name="T113" fmla="*/ 11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59" h="146">
                    <a:moveTo>
                      <a:pt x="1559" y="104"/>
                    </a:moveTo>
                    <a:cubicBezTo>
                      <a:pt x="1559" y="98"/>
                      <a:pt x="1556" y="92"/>
                      <a:pt x="1547" y="92"/>
                    </a:cubicBezTo>
                    <a:cubicBezTo>
                      <a:pt x="1539" y="92"/>
                      <a:pt x="1535" y="98"/>
                      <a:pt x="1535" y="104"/>
                    </a:cubicBezTo>
                    <a:cubicBezTo>
                      <a:pt x="1535" y="110"/>
                      <a:pt x="1539" y="116"/>
                      <a:pt x="1547" y="116"/>
                    </a:cubicBezTo>
                    <a:cubicBezTo>
                      <a:pt x="1556" y="116"/>
                      <a:pt x="1559" y="110"/>
                      <a:pt x="1559" y="104"/>
                    </a:cubicBezTo>
                    <a:close/>
                    <a:moveTo>
                      <a:pt x="1518" y="114"/>
                    </a:moveTo>
                    <a:lnTo>
                      <a:pt x="1518" y="62"/>
                    </a:lnTo>
                    <a:cubicBezTo>
                      <a:pt x="1518" y="55"/>
                      <a:pt x="1517" y="49"/>
                      <a:pt x="1514" y="45"/>
                    </a:cubicBezTo>
                    <a:cubicBezTo>
                      <a:pt x="1510" y="39"/>
                      <a:pt x="1504" y="36"/>
                      <a:pt x="1495" y="36"/>
                    </a:cubicBezTo>
                    <a:cubicBezTo>
                      <a:pt x="1485" y="36"/>
                      <a:pt x="1474" y="45"/>
                      <a:pt x="1471" y="48"/>
                    </a:cubicBezTo>
                    <a:cubicBezTo>
                      <a:pt x="1471" y="43"/>
                      <a:pt x="1470" y="38"/>
                      <a:pt x="1470" y="38"/>
                    </a:cubicBezTo>
                    <a:lnTo>
                      <a:pt x="1450" y="38"/>
                    </a:lnTo>
                    <a:cubicBezTo>
                      <a:pt x="1450" y="38"/>
                      <a:pt x="1451" y="47"/>
                      <a:pt x="1451" y="56"/>
                    </a:cubicBezTo>
                    <a:lnTo>
                      <a:pt x="1451" y="114"/>
                    </a:lnTo>
                    <a:lnTo>
                      <a:pt x="1472" y="114"/>
                    </a:lnTo>
                    <a:lnTo>
                      <a:pt x="1472" y="62"/>
                    </a:lnTo>
                    <a:cubicBezTo>
                      <a:pt x="1475" y="59"/>
                      <a:pt x="1482" y="54"/>
                      <a:pt x="1488" y="54"/>
                    </a:cubicBezTo>
                    <a:cubicBezTo>
                      <a:pt x="1493" y="54"/>
                      <a:pt x="1497" y="55"/>
                      <a:pt x="1497" y="64"/>
                    </a:cubicBezTo>
                    <a:lnTo>
                      <a:pt x="1497" y="114"/>
                    </a:lnTo>
                    <a:lnTo>
                      <a:pt x="1518" y="114"/>
                    </a:lnTo>
                    <a:close/>
                    <a:moveTo>
                      <a:pt x="1413" y="68"/>
                    </a:moveTo>
                    <a:lnTo>
                      <a:pt x="1389" y="68"/>
                    </a:lnTo>
                    <a:cubicBezTo>
                      <a:pt x="1389" y="62"/>
                      <a:pt x="1391" y="51"/>
                      <a:pt x="1400" y="51"/>
                    </a:cubicBezTo>
                    <a:cubicBezTo>
                      <a:pt x="1411" y="51"/>
                      <a:pt x="1413" y="62"/>
                      <a:pt x="1413" y="68"/>
                    </a:cubicBezTo>
                    <a:close/>
                    <a:moveTo>
                      <a:pt x="1433" y="74"/>
                    </a:moveTo>
                    <a:cubicBezTo>
                      <a:pt x="1433" y="56"/>
                      <a:pt x="1426" y="36"/>
                      <a:pt x="1400" y="36"/>
                    </a:cubicBezTo>
                    <a:cubicBezTo>
                      <a:pt x="1378" y="36"/>
                      <a:pt x="1367" y="56"/>
                      <a:pt x="1367" y="76"/>
                    </a:cubicBezTo>
                    <a:cubicBezTo>
                      <a:pt x="1367" y="90"/>
                      <a:pt x="1372" y="115"/>
                      <a:pt x="1399" y="115"/>
                    </a:cubicBezTo>
                    <a:cubicBezTo>
                      <a:pt x="1420" y="115"/>
                      <a:pt x="1432" y="108"/>
                      <a:pt x="1432" y="108"/>
                    </a:cubicBezTo>
                    <a:lnTo>
                      <a:pt x="1431" y="92"/>
                    </a:lnTo>
                    <a:cubicBezTo>
                      <a:pt x="1431" y="92"/>
                      <a:pt x="1416" y="100"/>
                      <a:pt x="1402" y="100"/>
                    </a:cubicBezTo>
                    <a:cubicBezTo>
                      <a:pt x="1393" y="100"/>
                      <a:pt x="1389" y="94"/>
                      <a:pt x="1389" y="80"/>
                    </a:cubicBezTo>
                    <a:lnTo>
                      <a:pt x="1433" y="80"/>
                    </a:lnTo>
                    <a:cubicBezTo>
                      <a:pt x="1433" y="80"/>
                      <a:pt x="1433" y="76"/>
                      <a:pt x="1433" y="74"/>
                    </a:cubicBezTo>
                    <a:moveTo>
                      <a:pt x="1332" y="75"/>
                    </a:moveTo>
                    <a:cubicBezTo>
                      <a:pt x="1332" y="93"/>
                      <a:pt x="1326" y="99"/>
                      <a:pt x="1319" y="99"/>
                    </a:cubicBezTo>
                    <a:cubicBezTo>
                      <a:pt x="1316" y="99"/>
                      <a:pt x="1310" y="97"/>
                      <a:pt x="1304" y="94"/>
                    </a:cubicBezTo>
                    <a:lnTo>
                      <a:pt x="1304" y="59"/>
                    </a:lnTo>
                    <a:cubicBezTo>
                      <a:pt x="1310" y="54"/>
                      <a:pt x="1316" y="53"/>
                      <a:pt x="1320" y="53"/>
                    </a:cubicBezTo>
                    <a:cubicBezTo>
                      <a:pt x="1330" y="53"/>
                      <a:pt x="1332" y="67"/>
                      <a:pt x="1332" y="75"/>
                    </a:cubicBezTo>
                    <a:close/>
                    <a:moveTo>
                      <a:pt x="1353" y="76"/>
                    </a:moveTo>
                    <a:cubicBezTo>
                      <a:pt x="1353" y="60"/>
                      <a:pt x="1349" y="36"/>
                      <a:pt x="1324" y="36"/>
                    </a:cubicBezTo>
                    <a:cubicBezTo>
                      <a:pt x="1315" y="36"/>
                      <a:pt x="1306" y="43"/>
                      <a:pt x="1304" y="44"/>
                    </a:cubicBezTo>
                    <a:cubicBezTo>
                      <a:pt x="1304" y="44"/>
                      <a:pt x="1304" y="39"/>
                      <a:pt x="1304" y="36"/>
                    </a:cubicBezTo>
                    <a:lnTo>
                      <a:pt x="1304" y="2"/>
                    </a:lnTo>
                    <a:lnTo>
                      <a:pt x="1284" y="4"/>
                    </a:lnTo>
                    <a:lnTo>
                      <a:pt x="1284" y="98"/>
                    </a:lnTo>
                    <a:cubicBezTo>
                      <a:pt x="1284" y="105"/>
                      <a:pt x="1283" y="114"/>
                      <a:pt x="1283" y="114"/>
                    </a:cubicBezTo>
                    <a:lnTo>
                      <a:pt x="1302" y="114"/>
                    </a:lnTo>
                    <a:cubicBezTo>
                      <a:pt x="1303" y="112"/>
                      <a:pt x="1303" y="109"/>
                      <a:pt x="1303" y="108"/>
                    </a:cubicBezTo>
                    <a:cubicBezTo>
                      <a:pt x="1304" y="109"/>
                      <a:pt x="1313" y="115"/>
                      <a:pt x="1324" y="115"/>
                    </a:cubicBezTo>
                    <a:cubicBezTo>
                      <a:pt x="1342" y="115"/>
                      <a:pt x="1353" y="98"/>
                      <a:pt x="1353" y="76"/>
                    </a:cubicBezTo>
                    <a:moveTo>
                      <a:pt x="1245" y="68"/>
                    </a:moveTo>
                    <a:lnTo>
                      <a:pt x="1221" y="68"/>
                    </a:lnTo>
                    <a:cubicBezTo>
                      <a:pt x="1221" y="62"/>
                      <a:pt x="1223" y="51"/>
                      <a:pt x="1232" y="51"/>
                    </a:cubicBezTo>
                    <a:cubicBezTo>
                      <a:pt x="1243" y="51"/>
                      <a:pt x="1245" y="62"/>
                      <a:pt x="1245" y="68"/>
                    </a:cubicBezTo>
                    <a:close/>
                    <a:moveTo>
                      <a:pt x="1265" y="74"/>
                    </a:moveTo>
                    <a:cubicBezTo>
                      <a:pt x="1265" y="56"/>
                      <a:pt x="1258" y="36"/>
                      <a:pt x="1232" y="36"/>
                    </a:cubicBezTo>
                    <a:cubicBezTo>
                      <a:pt x="1210" y="36"/>
                      <a:pt x="1199" y="56"/>
                      <a:pt x="1199" y="76"/>
                    </a:cubicBezTo>
                    <a:cubicBezTo>
                      <a:pt x="1199" y="90"/>
                      <a:pt x="1204" y="115"/>
                      <a:pt x="1231" y="115"/>
                    </a:cubicBezTo>
                    <a:cubicBezTo>
                      <a:pt x="1251" y="115"/>
                      <a:pt x="1264" y="108"/>
                      <a:pt x="1264" y="108"/>
                    </a:cubicBezTo>
                    <a:lnTo>
                      <a:pt x="1263" y="92"/>
                    </a:lnTo>
                    <a:cubicBezTo>
                      <a:pt x="1263" y="92"/>
                      <a:pt x="1248" y="100"/>
                      <a:pt x="1234" y="100"/>
                    </a:cubicBezTo>
                    <a:cubicBezTo>
                      <a:pt x="1225" y="100"/>
                      <a:pt x="1221" y="94"/>
                      <a:pt x="1221" y="80"/>
                    </a:cubicBezTo>
                    <a:lnTo>
                      <a:pt x="1265" y="80"/>
                    </a:lnTo>
                    <a:cubicBezTo>
                      <a:pt x="1265" y="80"/>
                      <a:pt x="1265" y="76"/>
                      <a:pt x="1265" y="74"/>
                    </a:cubicBezTo>
                    <a:moveTo>
                      <a:pt x="1188" y="114"/>
                    </a:moveTo>
                    <a:lnTo>
                      <a:pt x="1188" y="95"/>
                    </a:lnTo>
                    <a:lnTo>
                      <a:pt x="1145" y="95"/>
                    </a:lnTo>
                    <a:lnTo>
                      <a:pt x="1145" y="11"/>
                    </a:lnTo>
                    <a:lnTo>
                      <a:pt x="1124" y="11"/>
                    </a:lnTo>
                    <a:lnTo>
                      <a:pt x="1124" y="114"/>
                    </a:lnTo>
                    <a:lnTo>
                      <a:pt x="1188" y="114"/>
                    </a:lnTo>
                    <a:close/>
                    <a:moveTo>
                      <a:pt x="1073" y="104"/>
                    </a:moveTo>
                    <a:cubicBezTo>
                      <a:pt x="1073" y="98"/>
                      <a:pt x="1069" y="92"/>
                      <a:pt x="1061" y="92"/>
                    </a:cubicBezTo>
                    <a:cubicBezTo>
                      <a:pt x="1053" y="92"/>
                      <a:pt x="1048" y="98"/>
                      <a:pt x="1048" y="104"/>
                    </a:cubicBezTo>
                    <a:cubicBezTo>
                      <a:pt x="1048" y="110"/>
                      <a:pt x="1053" y="116"/>
                      <a:pt x="1061" y="116"/>
                    </a:cubicBezTo>
                    <a:cubicBezTo>
                      <a:pt x="1069" y="116"/>
                      <a:pt x="1073" y="110"/>
                      <a:pt x="1073" y="104"/>
                    </a:cubicBezTo>
                    <a:close/>
                    <a:moveTo>
                      <a:pt x="1053" y="38"/>
                    </a:moveTo>
                    <a:cubicBezTo>
                      <a:pt x="1053" y="38"/>
                      <a:pt x="1052" y="37"/>
                      <a:pt x="1044" y="37"/>
                    </a:cubicBezTo>
                    <a:cubicBezTo>
                      <a:pt x="1038" y="37"/>
                      <a:pt x="1032" y="42"/>
                      <a:pt x="1029" y="45"/>
                    </a:cubicBezTo>
                    <a:cubicBezTo>
                      <a:pt x="1029" y="46"/>
                      <a:pt x="1028" y="47"/>
                      <a:pt x="1028" y="47"/>
                    </a:cubicBezTo>
                    <a:cubicBezTo>
                      <a:pt x="1028" y="43"/>
                      <a:pt x="1027" y="38"/>
                      <a:pt x="1027" y="38"/>
                    </a:cubicBezTo>
                    <a:lnTo>
                      <a:pt x="1007" y="38"/>
                    </a:lnTo>
                    <a:cubicBezTo>
                      <a:pt x="1007" y="38"/>
                      <a:pt x="1008" y="47"/>
                      <a:pt x="1008" y="56"/>
                    </a:cubicBezTo>
                    <a:lnTo>
                      <a:pt x="1008" y="114"/>
                    </a:lnTo>
                    <a:lnTo>
                      <a:pt x="1029" y="114"/>
                    </a:lnTo>
                    <a:lnTo>
                      <a:pt x="1029" y="60"/>
                    </a:lnTo>
                    <a:cubicBezTo>
                      <a:pt x="1034" y="56"/>
                      <a:pt x="1039" y="53"/>
                      <a:pt x="1041" y="53"/>
                    </a:cubicBezTo>
                    <a:cubicBezTo>
                      <a:pt x="1047" y="53"/>
                      <a:pt x="1051" y="54"/>
                      <a:pt x="1051" y="54"/>
                    </a:cubicBezTo>
                    <a:lnTo>
                      <a:pt x="1053" y="38"/>
                    </a:lnTo>
                    <a:close/>
                    <a:moveTo>
                      <a:pt x="970" y="68"/>
                    </a:moveTo>
                    <a:lnTo>
                      <a:pt x="946" y="68"/>
                    </a:lnTo>
                    <a:cubicBezTo>
                      <a:pt x="946" y="62"/>
                      <a:pt x="948" y="51"/>
                      <a:pt x="958" y="51"/>
                    </a:cubicBezTo>
                    <a:cubicBezTo>
                      <a:pt x="968" y="51"/>
                      <a:pt x="970" y="62"/>
                      <a:pt x="970" y="68"/>
                    </a:cubicBezTo>
                    <a:close/>
                    <a:moveTo>
                      <a:pt x="990" y="74"/>
                    </a:moveTo>
                    <a:cubicBezTo>
                      <a:pt x="990" y="56"/>
                      <a:pt x="983" y="36"/>
                      <a:pt x="958" y="36"/>
                    </a:cubicBezTo>
                    <a:cubicBezTo>
                      <a:pt x="935" y="36"/>
                      <a:pt x="925" y="56"/>
                      <a:pt x="925" y="76"/>
                    </a:cubicBezTo>
                    <a:cubicBezTo>
                      <a:pt x="925" y="90"/>
                      <a:pt x="929" y="115"/>
                      <a:pt x="956" y="115"/>
                    </a:cubicBezTo>
                    <a:cubicBezTo>
                      <a:pt x="977" y="115"/>
                      <a:pt x="989" y="108"/>
                      <a:pt x="989" y="108"/>
                    </a:cubicBezTo>
                    <a:lnTo>
                      <a:pt x="988" y="92"/>
                    </a:lnTo>
                    <a:cubicBezTo>
                      <a:pt x="988" y="92"/>
                      <a:pt x="974" y="100"/>
                      <a:pt x="960" y="100"/>
                    </a:cubicBezTo>
                    <a:cubicBezTo>
                      <a:pt x="951" y="100"/>
                      <a:pt x="946" y="94"/>
                      <a:pt x="946" y="80"/>
                    </a:cubicBezTo>
                    <a:lnTo>
                      <a:pt x="990" y="80"/>
                    </a:lnTo>
                    <a:cubicBezTo>
                      <a:pt x="990" y="80"/>
                      <a:pt x="990" y="76"/>
                      <a:pt x="990" y="74"/>
                    </a:cubicBezTo>
                    <a:moveTo>
                      <a:pt x="911" y="91"/>
                    </a:moveTo>
                    <a:cubicBezTo>
                      <a:pt x="911" y="73"/>
                      <a:pt x="894" y="70"/>
                      <a:pt x="882" y="64"/>
                    </a:cubicBezTo>
                    <a:cubicBezTo>
                      <a:pt x="879" y="63"/>
                      <a:pt x="876" y="61"/>
                      <a:pt x="876" y="58"/>
                    </a:cubicBezTo>
                    <a:cubicBezTo>
                      <a:pt x="876" y="56"/>
                      <a:pt x="878" y="52"/>
                      <a:pt x="884" y="52"/>
                    </a:cubicBezTo>
                    <a:cubicBezTo>
                      <a:pt x="894" y="52"/>
                      <a:pt x="906" y="57"/>
                      <a:pt x="906" y="57"/>
                    </a:cubicBezTo>
                    <a:lnTo>
                      <a:pt x="907" y="40"/>
                    </a:lnTo>
                    <a:cubicBezTo>
                      <a:pt x="907" y="40"/>
                      <a:pt x="897" y="36"/>
                      <a:pt x="885" y="36"/>
                    </a:cubicBezTo>
                    <a:cubicBezTo>
                      <a:pt x="870" y="36"/>
                      <a:pt x="857" y="44"/>
                      <a:pt x="857" y="60"/>
                    </a:cubicBezTo>
                    <a:cubicBezTo>
                      <a:pt x="857" y="77"/>
                      <a:pt x="874" y="80"/>
                      <a:pt x="885" y="85"/>
                    </a:cubicBezTo>
                    <a:cubicBezTo>
                      <a:pt x="889" y="87"/>
                      <a:pt x="892" y="89"/>
                      <a:pt x="892" y="92"/>
                    </a:cubicBezTo>
                    <a:cubicBezTo>
                      <a:pt x="892" y="96"/>
                      <a:pt x="888" y="99"/>
                      <a:pt x="883" y="99"/>
                    </a:cubicBezTo>
                    <a:cubicBezTo>
                      <a:pt x="872" y="99"/>
                      <a:pt x="857" y="91"/>
                      <a:pt x="857" y="91"/>
                    </a:cubicBezTo>
                    <a:lnTo>
                      <a:pt x="856" y="110"/>
                    </a:lnTo>
                    <a:cubicBezTo>
                      <a:pt x="856" y="110"/>
                      <a:pt x="869" y="116"/>
                      <a:pt x="883" y="116"/>
                    </a:cubicBezTo>
                    <a:cubicBezTo>
                      <a:pt x="898" y="116"/>
                      <a:pt x="911" y="108"/>
                      <a:pt x="911" y="91"/>
                    </a:cubicBezTo>
                    <a:close/>
                    <a:moveTo>
                      <a:pt x="843" y="91"/>
                    </a:moveTo>
                    <a:cubicBezTo>
                      <a:pt x="843" y="73"/>
                      <a:pt x="826" y="70"/>
                      <a:pt x="813" y="64"/>
                    </a:cubicBezTo>
                    <a:cubicBezTo>
                      <a:pt x="810" y="63"/>
                      <a:pt x="807" y="61"/>
                      <a:pt x="807" y="58"/>
                    </a:cubicBezTo>
                    <a:cubicBezTo>
                      <a:pt x="807" y="56"/>
                      <a:pt x="809" y="52"/>
                      <a:pt x="815" y="52"/>
                    </a:cubicBezTo>
                    <a:cubicBezTo>
                      <a:pt x="825" y="52"/>
                      <a:pt x="837" y="57"/>
                      <a:pt x="837" y="57"/>
                    </a:cubicBezTo>
                    <a:lnTo>
                      <a:pt x="838" y="40"/>
                    </a:lnTo>
                    <a:cubicBezTo>
                      <a:pt x="838" y="40"/>
                      <a:pt x="828" y="36"/>
                      <a:pt x="816" y="36"/>
                    </a:cubicBezTo>
                    <a:cubicBezTo>
                      <a:pt x="801" y="36"/>
                      <a:pt x="788" y="44"/>
                      <a:pt x="788" y="60"/>
                    </a:cubicBezTo>
                    <a:cubicBezTo>
                      <a:pt x="788" y="77"/>
                      <a:pt x="805" y="80"/>
                      <a:pt x="817" y="85"/>
                    </a:cubicBezTo>
                    <a:cubicBezTo>
                      <a:pt x="820" y="87"/>
                      <a:pt x="823" y="89"/>
                      <a:pt x="823" y="92"/>
                    </a:cubicBezTo>
                    <a:cubicBezTo>
                      <a:pt x="823" y="96"/>
                      <a:pt x="819" y="99"/>
                      <a:pt x="815" y="99"/>
                    </a:cubicBezTo>
                    <a:cubicBezTo>
                      <a:pt x="803" y="99"/>
                      <a:pt x="788" y="91"/>
                      <a:pt x="788" y="91"/>
                    </a:cubicBezTo>
                    <a:lnTo>
                      <a:pt x="787" y="110"/>
                    </a:lnTo>
                    <a:cubicBezTo>
                      <a:pt x="787" y="110"/>
                      <a:pt x="800" y="116"/>
                      <a:pt x="814" y="116"/>
                    </a:cubicBezTo>
                    <a:cubicBezTo>
                      <a:pt x="829" y="116"/>
                      <a:pt x="843" y="108"/>
                      <a:pt x="843" y="91"/>
                    </a:cubicBezTo>
                    <a:close/>
                    <a:moveTo>
                      <a:pt x="749" y="94"/>
                    </a:moveTo>
                    <a:cubicBezTo>
                      <a:pt x="747" y="96"/>
                      <a:pt x="742" y="100"/>
                      <a:pt x="736" y="100"/>
                    </a:cubicBezTo>
                    <a:cubicBezTo>
                      <a:pt x="731" y="100"/>
                      <a:pt x="729" y="95"/>
                      <a:pt x="729" y="91"/>
                    </a:cubicBezTo>
                    <a:cubicBezTo>
                      <a:pt x="729" y="89"/>
                      <a:pt x="730" y="87"/>
                      <a:pt x="732" y="85"/>
                    </a:cubicBezTo>
                    <a:cubicBezTo>
                      <a:pt x="736" y="81"/>
                      <a:pt x="746" y="80"/>
                      <a:pt x="749" y="80"/>
                    </a:cubicBezTo>
                    <a:lnTo>
                      <a:pt x="749" y="94"/>
                    </a:lnTo>
                    <a:close/>
                    <a:moveTo>
                      <a:pt x="771" y="114"/>
                    </a:moveTo>
                    <a:cubicBezTo>
                      <a:pt x="771" y="114"/>
                      <a:pt x="770" y="107"/>
                      <a:pt x="770" y="98"/>
                    </a:cubicBezTo>
                    <a:lnTo>
                      <a:pt x="770" y="62"/>
                    </a:lnTo>
                    <a:cubicBezTo>
                      <a:pt x="770" y="54"/>
                      <a:pt x="769" y="48"/>
                      <a:pt x="765" y="43"/>
                    </a:cubicBezTo>
                    <a:cubicBezTo>
                      <a:pt x="761" y="39"/>
                      <a:pt x="755" y="36"/>
                      <a:pt x="745" y="36"/>
                    </a:cubicBezTo>
                    <a:cubicBezTo>
                      <a:pt x="729" y="36"/>
                      <a:pt x="714" y="43"/>
                      <a:pt x="714" y="43"/>
                    </a:cubicBezTo>
                    <a:lnTo>
                      <a:pt x="715" y="59"/>
                    </a:lnTo>
                    <a:cubicBezTo>
                      <a:pt x="720" y="56"/>
                      <a:pt x="731" y="52"/>
                      <a:pt x="741" y="52"/>
                    </a:cubicBezTo>
                    <a:cubicBezTo>
                      <a:pt x="747" y="52"/>
                      <a:pt x="749" y="55"/>
                      <a:pt x="749" y="61"/>
                    </a:cubicBezTo>
                    <a:lnTo>
                      <a:pt x="749" y="69"/>
                    </a:lnTo>
                    <a:cubicBezTo>
                      <a:pt x="740" y="69"/>
                      <a:pt x="725" y="70"/>
                      <a:pt x="716" y="77"/>
                    </a:cubicBezTo>
                    <a:cubicBezTo>
                      <a:pt x="711" y="81"/>
                      <a:pt x="709" y="85"/>
                      <a:pt x="709" y="92"/>
                    </a:cubicBezTo>
                    <a:cubicBezTo>
                      <a:pt x="709" y="102"/>
                      <a:pt x="714" y="115"/>
                      <a:pt x="730" y="115"/>
                    </a:cubicBezTo>
                    <a:cubicBezTo>
                      <a:pt x="741" y="115"/>
                      <a:pt x="751" y="107"/>
                      <a:pt x="751" y="107"/>
                    </a:cubicBezTo>
                    <a:cubicBezTo>
                      <a:pt x="751" y="110"/>
                      <a:pt x="751" y="114"/>
                      <a:pt x="751" y="114"/>
                    </a:cubicBezTo>
                    <a:lnTo>
                      <a:pt x="771" y="114"/>
                    </a:lnTo>
                    <a:close/>
                    <a:moveTo>
                      <a:pt x="701" y="12"/>
                    </a:moveTo>
                    <a:lnTo>
                      <a:pt x="679" y="11"/>
                    </a:lnTo>
                    <a:lnTo>
                      <a:pt x="667" y="61"/>
                    </a:lnTo>
                    <a:cubicBezTo>
                      <a:pt x="665" y="68"/>
                      <a:pt x="663" y="83"/>
                      <a:pt x="662" y="86"/>
                    </a:cubicBezTo>
                    <a:cubicBezTo>
                      <a:pt x="662" y="83"/>
                      <a:pt x="659" y="68"/>
                      <a:pt x="658" y="61"/>
                    </a:cubicBezTo>
                    <a:lnTo>
                      <a:pt x="646" y="11"/>
                    </a:lnTo>
                    <a:lnTo>
                      <a:pt x="624" y="11"/>
                    </a:lnTo>
                    <a:lnTo>
                      <a:pt x="613" y="61"/>
                    </a:lnTo>
                    <a:cubicBezTo>
                      <a:pt x="611" y="68"/>
                      <a:pt x="609" y="82"/>
                      <a:pt x="608" y="85"/>
                    </a:cubicBezTo>
                    <a:cubicBezTo>
                      <a:pt x="608" y="82"/>
                      <a:pt x="605" y="68"/>
                      <a:pt x="604" y="61"/>
                    </a:cubicBezTo>
                    <a:lnTo>
                      <a:pt x="592" y="10"/>
                    </a:lnTo>
                    <a:lnTo>
                      <a:pt x="570" y="11"/>
                    </a:lnTo>
                    <a:lnTo>
                      <a:pt x="597" y="114"/>
                    </a:lnTo>
                    <a:lnTo>
                      <a:pt x="619" y="114"/>
                    </a:lnTo>
                    <a:lnTo>
                      <a:pt x="630" y="67"/>
                    </a:lnTo>
                    <a:cubicBezTo>
                      <a:pt x="631" y="59"/>
                      <a:pt x="635" y="40"/>
                      <a:pt x="635" y="40"/>
                    </a:cubicBezTo>
                    <a:cubicBezTo>
                      <a:pt x="635" y="40"/>
                      <a:pt x="638" y="59"/>
                      <a:pt x="640" y="67"/>
                    </a:cubicBezTo>
                    <a:lnTo>
                      <a:pt x="650" y="114"/>
                    </a:lnTo>
                    <a:lnTo>
                      <a:pt x="673" y="114"/>
                    </a:lnTo>
                    <a:lnTo>
                      <a:pt x="701" y="12"/>
                    </a:lnTo>
                    <a:close/>
                    <a:moveTo>
                      <a:pt x="537" y="104"/>
                    </a:moveTo>
                    <a:cubicBezTo>
                      <a:pt x="537" y="98"/>
                      <a:pt x="533" y="92"/>
                      <a:pt x="525" y="92"/>
                    </a:cubicBezTo>
                    <a:cubicBezTo>
                      <a:pt x="516" y="92"/>
                      <a:pt x="512" y="98"/>
                      <a:pt x="512" y="104"/>
                    </a:cubicBezTo>
                    <a:cubicBezTo>
                      <a:pt x="512" y="110"/>
                      <a:pt x="516" y="116"/>
                      <a:pt x="525" y="116"/>
                    </a:cubicBezTo>
                    <a:cubicBezTo>
                      <a:pt x="533" y="116"/>
                      <a:pt x="537" y="110"/>
                      <a:pt x="537" y="104"/>
                    </a:cubicBezTo>
                    <a:close/>
                    <a:moveTo>
                      <a:pt x="476" y="68"/>
                    </a:moveTo>
                    <a:lnTo>
                      <a:pt x="452" y="68"/>
                    </a:lnTo>
                    <a:cubicBezTo>
                      <a:pt x="452" y="62"/>
                      <a:pt x="454" y="51"/>
                      <a:pt x="464" y="51"/>
                    </a:cubicBezTo>
                    <a:cubicBezTo>
                      <a:pt x="474" y="51"/>
                      <a:pt x="476" y="62"/>
                      <a:pt x="476" y="68"/>
                    </a:cubicBezTo>
                    <a:moveTo>
                      <a:pt x="496" y="74"/>
                    </a:moveTo>
                    <a:cubicBezTo>
                      <a:pt x="496" y="56"/>
                      <a:pt x="489" y="36"/>
                      <a:pt x="464" y="36"/>
                    </a:cubicBezTo>
                    <a:cubicBezTo>
                      <a:pt x="441" y="36"/>
                      <a:pt x="431" y="56"/>
                      <a:pt x="431" y="76"/>
                    </a:cubicBezTo>
                    <a:cubicBezTo>
                      <a:pt x="431" y="90"/>
                      <a:pt x="435" y="115"/>
                      <a:pt x="462" y="115"/>
                    </a:cubicBezTo>
                    <a:cubicBezTo>
                      <a:pt x="483" y="115"/>
                      <a:pt x="495" y="108"/>
                      <a:pt x="495" y="108"/>
                    </a:cubicBezTo>
                    <a:lnTo>
                      <a:pt x="494" y="92"/>
                    </a:lnTo>
                    <a:cubicBezTo>
                      <a:pt x="494" y="92"/>
                      <a:pt x="480" y="100"/>
                      <a:pt x="466" y="100"/>
                    </a:cubicBezTo>
                    <a:cubicBezTo>
                      <a:pt x="457" y="100"/>
                      <a:pt x="452" y="94"/>
                      <a:pt x="452" y="80"/>
                    </a:cubicBezTo>
                    <a:lnTo>
                      <a:pt x="496" y="80"/>
                    </a:lnTo>
                    <a:cubicBezTo>
                      <a:pt x="496" y="80"/>
                      <a:pt x="496" y="76"/>
                      <a:pt x="496" y="74"/>
                    </a:cubicBezTo>
                    <a:moveTo>
                      <a:pt x="413" y="114"/>
                    </a:moveTo>
                    <a:lnTo>
                      <a:pt x="413" y="54"/>
                    </a:lnTo>
                    <a:cubicBezTo>
                      <a:pt x="413" y="48"/>
                      <a:pt x="412" y="38"/>
                      <a:pt x="412" y="38"/>
                    </a:cubicBezTo>
                    <a:lnTo>
                      <a:pt x="393" y="38"/>
                    </a:lnTo>
                    <a:lnTo>
                      <a:pt x="393" y="114"/>
                    </a:lnTo>
                    <a:lnTo>
                      <a:pt x="413" y="114"/>
                    </a:lnTo>
                    <a:close/>
                    <a:moveTo>
                      <a:pt x="416" y="12"/>
                    </a:moveTo>
                    <a:cubicBezTo>
                      <a:pt x="416" y="6"/>
                      <a:pt x="411" y="0"/>
                      <a:pt x="403" y="0"/>
                    </a:cubicBezTo>
                    <a:cubicBezTo>
                      <a:pt x="395" y="0"/>
                      <a:pt x="391" y="6"/>
                      <a:pt x="391" y="12"/>
                    </a:cubicBezTo>
                    <a:cubicBezTo>
                      <a:pt x="391" y="18"/>
                      <a:pt x="395" y="24"/>
                      <a:pt x="403" y="24"/>
                    </a:cubicBezTo>
                    <a:cubicBezTo>
                      <a:pt x="411" y="24"/>
                      <a:pt x="416" y="18"/>
                      <a:pt x="416" y="12"/>
                    </a:cubicBezTo>
                    <a:close/>
                    <a:moveTo>
                      <a:pt x="353" y="88"/>
                    </a:moveTo>
                    <a:cubicBezTo>
                      <a:pt x="347" y="95"/>
                      <a:pt x="341" y="97"/>
                      <a:pt x="337" y="97"/>
                    </a:cubicBezTo>
                    <a:cubicBezTo>
                      <a:pt x="328" y="97"/>
                      <a:pt x="326" y="83"/>
                      <a:pt x="326" y="75"/>
                    </a:cubicBezTo>
                    <a:cubicBezTo>
                      <a:pt x="326" y="66"/>
                      <a:pt x="327" y="53"/>
                      <a:pt x="339" y="53"/>
                    </a:cubicBezTo>
                    <a:cubicBezTo>
                      <a:pt x="343" y="53"/>
                      <a:pt x="347" y="54"/>
                      <a:pt x="353" y="57"/>
                    </a:cubicBezTo>
                    <a:lnTo>
                      <a:pt x="353" y="88"/>
                    </a:lnTo>
                    <a:close/>
                    <a:moveTo>
                      <a:pt x="375" y="38"/>
                    </a:moveTo>
                    <a:lnTo>
                      <a:pt x="355" y="38"/>
                    </a:lnTo>
                    <a:cubicBezTo>
                      <a:pt x="355" y="38"/>
                      <a:pt x="354" y="40"/>
                      <a:pt x="354" y="42"/>
                    </a:cubicBezTo>
                    <a:cubicBezTo>
                      <a:pt x="352" y="41"/>
                      <a:pt x="345" y="36"/>
                      <a:pt x="336" y="36"/>
                    </a:cubicBezTo>
                    <a:cubicBezTo>
                      <a:pt x="315" y="36"/>
                      <a:pt x="305" y="53"/>
                      <a:pt x="305" y="75"/>
                    </a:cubicBezTo>
                    <a:cubicBezTo>
                      <a:pt x="305" y="90"/>
                      <a:pt x="310" y="114"/>
                      <a:pt x="332" y="114"/>
                    </a:cubicBezTo>
                    <a:cubicBezTo>
                      <a:pt x="344" y="114"/>
                      <a:pt x="352" y="105"/>
                      <a:pt x="353" y="103"/>
                    </a:cubicBezTo>
                    <a:cubicBezTo>
                      <a:pt x="353" y="103"/>
                      <a:pt x="353" y="108"/>
                      <a:pt x="353" y="110"/>
                    </a:cubicBezTo>
                    <a:lnTo>
                      <a:pt x="353" y="115"/>
                    </a:lnTo>
                    <a:cubicBezTo>
                      <a:pt x="353" y="117"/>
                      <a:pt x="353" y="119"/>
                      <a:pt x="352" y="121"/>
                    </a:cubicBezTo>
                    <a:cubicBezTo>
                      <a:pt x="351" y="125"/>
                      <a:pt x="347" y="128"/>
                      <a:pt x="338" y="128"/>
                    </a:cubicBezTo>
                    <a:cubicBezTo>
                      <a:pt x="323" y="128"/>
                      <a:pt x="310" y="122"/>
                      <a:pt x="310" y="122"/>
                    </a:cubicBezTo>
                    <a:lnTo>
                      <a:pt x="309" y="140"/>
                    </a:lnTo>
                    <a:cubicBezTo>
                      <a:pt x="309" y="140"/>
                      <a:pt x="320" y="146"/>
                      <a:pt x="338" y="146"/>
                    </a:cubicBezTo>
                    <a:cubicBezTo>
                      <a:pt x="357" y="146"/>
                      <a:pt x="369" y="139"/>
                      <a:pt x="373" y="125"/>
                    </a:cubicBezTo>
                    <a:cubicBezTo>
                      <a:pt x="373" y="122"/>
                      <a:pt x="373" y="116"/>
                      <a:pt x="373" y="112"/>
                    </a:cubicBezTo>
                    <a:lnTo>
                      <a:pt x="373" y="56"/>
                    </a:lnTo>
                    <a:cubicBezTo>
                      <a:pt x="373" y="47"/>
                      <a:pt x="375" y="38"/>
                      <a:pt x="375" y="38"/>
                    </a:cubicBezTo>
                    <a:moveTo>
                      <a:pt x="294" y="38"/>
                    </a:moveTo>
                    <a:cubicBezTo>
                      <a:pt x="294" y="38"/>
                      <a:pt x="293" y="37"/>
                      <a:pt x="285" y="37"/>
                    </a:cubicBezTo>
                    <a:cubicBezTo>
                      <a:pt x="279" y="37"/>
                      <a:pt x="273" y="42"/>
                      <a:pt x="270" y="45"/>
                    </a:cubicBezTo>
                    <a:cubicBezTo>
                      <a:pt x="270" y="46"/>
                      <a:pt x="269" y="47"/>
                      <a:pt x="269" y="47"/>
                    </a:cubicBezTo>
                    <a:cubicBezTo>
                      <a:pt x="269" y="43"/>
                      <a:pt x="268" y="38"/>
                      <a:pt x="268" y="38"/>
                    </a:cubicBezTo>
                    <a:lnTo>
                      <a:pt x="248" y="38"/>
                    </a:lnTo>
                    <a:cubicBezTo>
                      <a:pt x="248" y="38"/>
                      <a:pt x="249" y="47"/>
                      <a:pt x="249" y="56"/>
                    </a:cubicBezTo>
                    <a:lnTo>
                      <a:pt x="249" y="114"/>
                    </a:lnTo>
                    <a:lnTo>
                      <a:pt x="270" y="114"/>
                    </a:lnTo>
                    <a:lnTo>
                      <a:pt x="270" y="60"/>
                    </a:lnTo>
                    <a:cubicBezTo>
                      <a:pt x="275" y="56"/>
                      <a:pt x="279" y="53"/>
                      <a:pt x="282" y="53"/>
                    </a:cubicBezTo>
                    <a:cubicBezTo>
                      <a:pt x="288" y="53"/>
                      <a:pt x="292" y="54"/>
                      <a:pt x="292" y="54"/>
                    </a:cubicBezTo>
                    <a:lnTo>
                      <a:pt x="294" y="38"/>
                    </a:lnTo>
                    <a:close/>
                    <a:moveTo>
                      <a:pt x="211" y="68"/>
                    </a:moveTo>
                    <a:lnTo>
                      <a:pt x="187" y="68"/>
                    </a:lnTo>
                    <a:cubicBezTo>
                      <a:pt x="187" y="62"/>
                      <a:pt x="189" y="51"/>
                      <a:pt x="198" y="51"/>
                    </a:cubicBezTo>
                    <a:cubicBezTo>
                      <a:pt x="209" y="51"/>
                      <a:pt x="211" y="62"/>
                      <a:pt x="211" y="68"/>
                    </a:cubicBezTo>
                    <a:moveTo>
                      <a:pt x="231" y="74"/>
                    </a:moveTo>
                    <a:cubicBezTo>
                      <a:pt x="231" y="56"/>
                      <a:pt x="224" y="36"/>
                      <a:pt x="198" y="36"/>
                    </a:cubicBezTo>
                    <a:cubicBezTo>
                      <a:pt x="176" y="36"/>
                      <a:pt x="165" y="56"/>
                      <a:pt x="165" y="76"/>
                    </a:cubicBezTo>
                    <a:cubicBezTo>
                      <a:pt x="165" y="90"/>
                      <a:pt x="170" y="115"/>
                      <a:pt x="197" y="115"/>
                    </a:cubicBezTo>
                    <a:cubicBezTo>
                      <a:pt x="218" y="115"/>
                      <a:pt x="230" y="108"/>
                      <a:pt x="230" y="108"/>
                    </a:cubicBezTo>
                    <a:lnTo>
                      <a:pt x="229" y="92"/>
                    </a:lnTo>
                    <a:cubicBezTo>
                      <a:pt x="229" y="92"/>
                      <a:pt x="214" y="100"/>
                      <a:pt x="200" y="100"/>
                    </a:cubicBezTo>
                    <a:cubicBezTo>
                      <a:pt x="191" y="100"/>
                      <a:pt x="187" y="94"/>
                      <a:pt x="187" y="80"/>
                    </a:cubicBezTo>
                    <a:lnTo>
                      <a:pt x="231" y="80"/>
                    </a:lnTo>
                    <a:cubicBezTo>
                      <a:pt x="231" y="80"/>
                      <a:pt x="231" y="76"/>
                      <a:pt x="231" y="74"/>
                    </a:cubicBezTo>
                    <a:moveTo>
                      <a:pt x="148" y="114"/>
                    </a:moveTo>
                    <a:lnTo>
                      <a:pt x="148" y="62"/>
                    </a:lnTo>
                    <a:cubicBezTo>
                      <a:pt x="148" y="55"/>
                      <a:pt x="147" y="49"/>
                      <a:pt x="144" y="45"/>
                    </a:cubicBezTo>
                    <a:cubicBezTo>
                      <a:pt x="141" y="39"/>
                      <a:pt x="135" y="36"/>
                      <a:pt x="126" y="36"/>
                    </a:cubicBezTo>
                    <a:cubicBezTo>
                      <a:pt x="115" y="36"/>
                      <a:pt x="104" y="45"/>
                      <a:pt x="101" y="48"/>
                    </a:cubicBezTo>
                    <a:cubicBezTo>
                      <a:pt x="101" y="43"/>
                      <a:pt x="101" y="38"/>
                      <a:pt x="101" y="38"/>
                    </a:cubicBezTo>
                    <a:lnTo>
                      <a:pt x="81" y="38"/>
                    </a:lnTo>
                    <a:cubicBezTo>
                      <a:pt x="81" y="38"/>
                      <a:pt x="82" y="47"/>
                      <a:pt x="82" y="56"/>
                    </a:cubicBezTo>
                    <a:lnTo>
                      <a:pt x="82" y="114"/>
                    </a:lnTo>
                    <a:lnTo>
                      <a:pt x="102" y="114"/>
                    </a:lnTo>
                    <a:lnTo>
                      <a:pt x="102" y="62"/>
                    </a:lnTo>
                    <a:cubicBezTo>
                      <a:pt x="105" y="59"/>
                      <a:pt x="112" y="54"/>
                      <a:pt x="119" y="54"/>
                    </a:cubicBezTo>
                    <a:cubicBezTo>
                      <a:pt x="124" y="54"/>
                      <a:pt x="128" y="55"/>
                      <a:pt x="128" y="64"/>
                    </a:cubicBezTo>
                    <a:lnTo>
                      <a:pt x="128" y="114"/>
                    </a:lnTo>
                    <a:lnTo>
                      <a:pt x="148" y="114"/>
                    </a:lnTo>
                    <a:close/>
                    <a:moveTo>
                      <a:pt x="66" y="114"/>
                    </a:moveTo>
                    <a:lnTo>
                      <a:pt x="66" y="96"/>
                    </a:lnTo>
                    <a:lnTo>
                      <a:pt x="21" y="96"/>
                    </a:lnTo>
                    <a:lnTo>
                      <a:pt x="21" y="69"/>
                    </a:lnTo>
                    <a:lnTo>
                      <a:pt x="57" y="69"/>
                    </a:lnTo>
                    <a:lnTo>
                      <a:pt x="57" y="52"/>
                    </a:lnTo>
                    <a:lnTo>
                      <a:pt x="21" y="52"/>
                    </a:lnTo>
                    <a:lnTo>
                      <a:pt x="21" y="29"/>
                    </a:lnTo>
                    <a:lnTo>
                      <a:pt x="62" y="29"/>
                    </a:lnTo>
                    <a:lnTo>
                      <a:pt x="64" y="11"/>
                    </a:lnTo>
                    <a:lnTo>
                      <a:pt x="0" y="11"/>
                    </a:lnTo>
                    <a:lnTo>
                      <a:pt x="0" y="114"/>
                    </a:lnTo>
                    <a:lnTo>
                      <a:pt x="66" y="1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5" name="Freeform 39">
                <a:extLst>
                  <a:ext uri="{FF2B5EF4-FFF2-40B4-BE49-F238E27FC236}">
                    <a16:creationId xmlns:a16="http://schemas.microsoft.com/office/drawing/2014/main" id="{CDC0C4A8-EAED-4205-AB22-3CC884A28E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29374" y="990263"/>
                <a:ext cx="354012" cy="273050"/>
              </a:xfrm>
              <a:custGeom>
                <a:avLst/>
                <a:gdLst>
                  <a:gd name="T0" fmla="*/ 0 w 443"/>
                  <a:gd name="T1" fmla="*/ 0 h 341"/>
                  <a:gd name="T2" fmla="*/ 0 w 443"/>
                  <a:gd name="T3" fmla="*/ 217 h 341"/>
                  <a:gd name="T4" fmla="*/ 131 w 443"/>
                  <a:gd name="T5" fmla="*/ 341 h 341"/>
                  <a:gd name="T6" fmla="*/ 222 w 443"/>
                  <a:gd name="T7" fmla="*/ 300 h 341"/>
                  <a:gd name="T8" fmla="*/ 313 w 443"/>
                  <a:gd name="T9" fmla="*/ 341 h 341"/>
                  <a:gd name="T10" fmla="*/ 443 w 443"/>
                  <a:gd name="T11" fmla="*/ 217 h 341"/>
                  <a:gd name="T12" fmla="*/ 443 w 443"/>
                  <a:gd name="T13" fmla="*/ 0 h 341"/>
                  <a:gd name="T14" fmla="*/ 365 w 443"/>
                  <a:gd name="T15" fmla="*/ 0 h 341"/>
                  <a:gd name="T16" fmla="*/ 365 w 443"/>
                  <a:gd name="T17" fmla="*/ 219 h 341"/>
                  <a:gd name="T18" fmla="*/ 313 w 443"/>
                  <a:gd name="T19" fmla="*/ 268 h 341"/>
                  <a:gd name="T20" fmla="*/ 261 w 443"/>
                  <a:gd name="T21" fmla="*/ 219 h 341"/>
                  <a:gd name="T22" fmla="*/ 261 w 443"/>
                  <a:gd name="T23" fmla="*/ 0 h 341"/>
                  <a:gd name="T24" fmla="*/ 183 w 443"/>
                  <a:gd name="T25" fmla="*/ 0 h 341"/>
                  <a:gd name="T26" fmla="*/ 183 w 443"/>
                  <a:gd name="T27" fmla="*/ 219 h 341"/>
                  <a:gd name="T28" fmla="*/ 131 w 443"/>
                  <a:gd name="T29" fmla="*/ 268 h 341"/>
                  <a:gd name="T30" fmla="*/ 79 w 443"/>
                  <a:gd name="T31" fmla="*/ 219 h 341"/>
                  <a:gd name="T32" fmla="*/ 79 w 443"/>
                  <a:gd name="T33" fmla="*/ 0 h 341"/>
                  <a:gd name="T34" fmla="*/ 0 w 443"/>
                  <a:gd name="T35" fmla="*/ 0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3" h="341">
                    <a:moveTo>
                      <a:pt x="0" y="0"/>
                    </a:moveTo>
                    <a:lnTo>
                      <a:pt x="0" y="217"/>
                    </a:lnTo>
                    <a:cubicBezTo>
                      <a:pt x="0" y="285"/>
                      <a:pt x="59" y="341"/>
                      <a:pt x="131" y="341"/>
                    </a:cubicBezTo>
                    <a:cubicBezTo>
                      <a:pt x="165" y="341"/>
                      <a:pt x="205" y="322"/>
                      <a:pt x="222" y="300"/>
                    </a:cubicBezTo>
                    <a:cubicBezTo>
                      <a:pt x="239" y="322"/>
                      <a:pt x="279" y="341"/>
                      <a:pt x="313" y="341"/>
                    </a:cubicBezTo>
                    <a:cubicBezTo>
                      <a:pt x="385" y="341"/>
                      <a:pt x="443" y="285"/>
                      <a:pt x="443" y="217"/>
                    </a:cubicBezTo>
                    <a:lnTo>
                      <a:pt x="443" y="0"/>
                    </a:lnTo>
                    <a:lnTo>
                      <a:pt x="365" y="0"/>
                    </a:lnTo>
                    <a:lnTo>
                      <a:pt x="365" y="219"/>
                    </a:lnTo>
                    <a:cubicBezTo>
                      <a:pt x="365" y="246"/>
                      <a:pt x="342" y="268"/>
                      <a:pt x="313" y="268"/>
                    </a:cubicBezTo>
                    <a:cubicBezTo>
                      <a:pt x="285" y="268"/>
                      <a:pt x="261" y="246"/>
                      <a:pt x="261" y="219"/>
                    </a:cubicBezTo>
                    <a:lnTo>
                      <a:pt x="261" y="0"/>
                    </a:lnTo>
                    <a:lnTo>
                      <a:pt x="183" y="0"/>
                    </a:lnTo>
                    <a:lnTo>
                      <a:pt x="183" y="219"/>
                    </a:lnTo>
                    <a:cubicBezTo>
                      <a:pt x="183" y="246"/>
                      <a:pt x="159" y="268"/>
                      <a:pt x="131" y="268"/>
                    </a:cubicBezTo>
                    <a:cubicBezTo>
                      <a:pt x="102" y="268"/>
                      <a:pt x="79" y="246"/>
                      <a:pt x="79" y="219"/>
                    </a:cubicBez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6" name="Freeform 40">
                <a:extLst>
                  <a:ext uri="{FF2B5EF4-FFF2-40B4-BE49-F238E27FC236}">
                    <a16:creationId xmlns:a16="http://schemas.microsoft.com/office/drawing/2014/main" id="{9495E6D8-0469-4EC8-B276-494CBFBC12D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30924" y="982325"/>
                <a:ext cx="276225" cy="277813"/>
              </a:xfrm>
              <a:custGeom>
                <a:avLst/>
                <a:gdLst>
                  <a:gd name="T0" fmla="*/ 345 w 347"/>
                  <a:gd name="T1" fmla="*/ 199 h 348"/>
                  <a:gd name="T2" fmla="*/ 347 w 347"/>
                  <a:gd name="T3" fmla="*/ 174 h 348"/>
                  <a:gd name="T4" fmla="*/ 174 w 347"/>
                  <a:gd name="T5" fmla="*/ 0 h 348"/>
                  <a:gd name="T6" fmla="*/ 0 w 347"/>
                  <a:gd name="T7" fmla="*/ 174 h 348"/>
                  <a:gd name="T8" fmla="*/ 174 w 347"/>
                  <a:gd name="T9" fmla="*/ 348 h 348"/>
                  <a:gd name="T10" fmla="*/ 336 w 347"/>
                  <a:gd name="T11" fmla="*/ 237 h 348"/>
                  <a:gd name="T12" fmla="*/ 254 w 347"/>
                  <a:gd name="T13" fmla="*/ 237 h 348"/>
                  <a:gd name="T14" fmla="*/ 174 w 347"/>
                  <a:gd name="T15" fmla="*/ 276 h 348"/>
                  <a:gd name="T16" fmla="*/ 71 w 347"/>
                  <a:gd name="T17" fmla="*/ 174 h 348"/>
                  <a:gd name="T18" fmla="*/ 174 w 347"/>
                  <a:gd name="T19" fmla="*/ 71 h 348"/>
                  <a:gd name="T20" fmla="*/ 265 w 347"/>
                  <a:gd name="T21" fmla="*/ 128 h 348"/>
                  <a:gd name="T22" fmla="*/ 141 w 347"/>
                  <a:gd name="T23" fmla="*/ 128 h 348"/>
                  <a:gd name="T24" fmla="*/ 141 w 347"/>
                  <a:gd name="T25" fmla="*/ 199 h 348"/>
                  <a:gd name="T26" fmla="*/ 345 w 347"/>
                  <a:gd name="T27" fmla="*/ 199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7" h="348">
                    <a:moveTo>
                      <a:pt x="345" y="199"/>
                    </a:moveTo>
                    <a:cubicBezTo>
                      <a:pt x="347" y="191"/>
                      <a:pt x="347" y="183"/>
                      <a:pt x="347" y="174"/>
                    </a:cubicBezTo>
                    <a:cubicBezTo>
                      <a:pt x="347" y="78"/>
                      <a:pt x="270" y="0"/>
                      <a:pt x="174" y="0"/>
                    </a:cubicBezTo>
                    <a:cubicBezTo>
                      <a:pt x="78" y="0"/>
                      <a:pt x="0" y="78"/>
                      <a:pt x="0" y="174"/>
                    </a:cubicBezTo>
                    <a:cubicBezTo>
                      <a:pt x="0" y="270"/>
                      <a:pt x="78" y="348"/>
                      <a:pt x="174" y="348"/>
                    </a:cubicBezTo>
                    <a:cubicBezTo>
                      <a:pt x="248" y="348"/>
                      <a:pt x="310" y="301"/>
                      <a:pt x="336" y="237"/>
                    </a:cubicBezTo>
                    <a:lnTo>
                      <a:pt x="254" y="237"/>
                    </a:lnTo>
                    <a:cubicBezTo>
                      <a:pt x="235" y="260"/>
                      <a:pt x="206" y="276"/>
                      <a:pt x="174" y="276"/>
                    </a:cubicBezTo>
                    <a:cubicBezTo>
                      <a:pt x="117" y="276"/>
                      <a:pt x="71" y="230"/>
                      <a:pt x="71" y="174"/>
                    </a:cubicBezTo>
                    <a:cubicBezTo>
                      <a:pt x="71" y="117"/>
                      <a:pt x="117" y="71"/>
                      <a:pt x="174" y="71"/>
                    </a:cubicBezTo>
                    <a:cubicBezTo>
                      <a:pt x="214" y="71"/>
                      <a:pt x="248" y="95"/>
                      <a:pt x="265" y="128"/>
                    </a:cubicBezTo>
                    <a:lnTo>
                      <a:pt x="141" y="128"/>
                    </a:lnTo>
                    <a:lnTo>
                      <a:pt x="141" y="199"/>
                    </a:lnTo>
                    <a:lnTo>
                      <a:pt x="345" y="19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" name="Freeform 41">
                <a:extLst>
                  <a:ext uri="{FF2B5EF4-FFF2-40B4-BE49-F238E27FC236}">
                    <a16:creationId xmlns:a16="http://schemas.microsoft.com/office/drawing/2014/main" id="{B98C966D-3E44-4F27-A531-F53705858AA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34061" y="868025"/>
                <a:ext cx="276225" cy="395288"/>
              </a:xfrm>
              <a:custGeom>
                <a:avLst/>
                <a:gdLst>
                  <a:gd name="T0" fmla="*/ 273 w 347"/>
                  <a:gd name="T1" fmla="*/ 0 h 496"/>
                  <a:gd name="T2" fmla="*/ 273 w 347"/>
                  <a:gd name="T3" fmla="*/ 184 h 496"/>
                  <a:gd name="T4" fmla="*/ 173 w 347"/>
                  <a:gd name="T5" fmla="*/ 150 h 496"/>
                  <a:gd name="T6" fmla="*/ 0 w 347"/>
                  <a:gd name="T7" fmla="*/ 323 h 496"/>
                  <a:gd name="T8" fmla="*/ 173 w 347"/>
                  <a:gd name="T9" fmla="*/ 496 h 496"/>
                  <a:gd name="T10" fmla="*/ 273 w 347"/>
                  <a:gd name="T11" fmla="*/ 463 h 496"/>
                  <a:gd name="T12" fmla="*/ 273 w 347"/>
                  <a:gd name="T13" fmla="*/ 492 h 496"/>
                  <a:gd name="T14" fmla="*/ 347 w 347"/>
                  <a:gd name="T15" fmla="*/ 492 h 496"/>
                  <a:gd name="T16" fmla="*/ 347 w 347"/>
                  <a:gd name="T17" fmla="*/ 0 h 496"/>
                  <a:gd name="T18" fmla="*/ 273 w 347"/>
                  <a:gd name="T19" fmla="*/ 0 h 496"/>
                  <a:gd name="T20" fmla="*/ 196 w 347"/>
                  <a:gd name="T21" fmla="*/ 421 h 496"/>
                  <a:gd name="T22" fmla="*/ 173 w 347"/>
                  <a:gd name="T23" fmla="*/ 425 h 496"/>
                  <a:gd name="T24" fmla="*/ 134 w 347"/>
                  <a:gd name="T25" fmla="*/ 416 h 496"/>
                  <a:gd name="T26" fmla="*/ 71 w 347"/>
                  <a:gd name="T27" fmla="*/ 321 h 496"/>
                  <a:gd name="T28" fmla="*/ 173 w 347"/>
                  <a:gd name="T29" fmla="*/ 219 h 496"/>
                  <a:gd name="T30" fmla="*/ 276 w 347"/>
                  <a:gd name="T31" fmla="*/ 321 h 496"/>
                  <a:gd name="T32" fmla="*/ 196 w 347"/>
                  <a:gd name="T33" fmla="*/ 421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7" h="496">
                    <a:moveTo>
                      <a:pt x="273" y="0"/>
                    </a:moveTo>
                    <a:lnTo>
                      <a:pt x="273" y="184"/>
                    </a:lnTo>
                    <a:cubicBezTo>
                      <a:pt x="245" y="163"/>
                      <a:pt x="211" y="150"/>
                      <a:pt x="173" y="150"/>
                    </a:cubicBezTo>
                    <a:cubicBezTo>
                      <a:pt x="77" y="150"/>
                      <a:pt x="0" y="227"/>
                      <a:pt x="0" y="323"/>
                    </a:cubicBezTo>
                    <a:cubicBezTo>
                      <a:pt x="0" y="418"/>
                      <a:pt x="77" y="496"/>
                      <a:pt x="173" y="496"/>
                    </a:cubicBezTo>
                    <a:cubicBezTo>
                      <a:pt x="211" y="496"/>
                      <a:pt x="245" y="484"/>
                      <a:pt x="273" y="463"/>
                    </a:cubicBezTo>
                    <a:lnTo>
                      <a:pt x="273" y="492"/>
                    </a:lnTo>
                    <a:lnTo>
                      <a:pt x="347" y="492"/>
                    </a:lnTo>
                    <a:lnTo>
                      <a:pt x="347" y="0"/>
                    </a:lnTo>
                    <a:lnTo>
                      <a:pt x="273" y="0"/>
                    </a:lnTo>
                    <a:close/>
                    <a:moveTo>
                      <a:pt x="196" y="421"/>
                    </a:moveTo>
                    <a:cubicBezTo>
                      <a:pt x="189" y="423"/>
                      <a:pt x="181" y="425"/>
                      <a:pt x="173" y="425"/>
                    </a:cubicBezTo>
                    <a:cubicBezTo>
                      <a:pt x="159" y="425"/>
                      <a:pt x="146" y="421"/>
                      <a:pt x="134" y="416"/>
                    </a:cubicBezTo>
                    <a:cubicBezTo>
                      <a:pt x="97" y="401"/>
                      <a:pt x="71" y="364"/>
                      <a:pt x="71" y="321"/>
                    </a:cubicBezTo>
                    <a:cubicBezTo>
                      <a:pt x="71" y="265"/>
                      <a:pt x="117" y="219"/>
                      <a:pt x="173" y="219"/>
                    </a:cubicBezTo>
                    <a:cubicBezTo>
                      <a:pt x="230" y="219"/>
                      <a:pt x="276" y="265"/>
                      <a:pt x="276" y="321"/>
                    </a:cubicBezTo>
                    <a:cubicBezTo>
                      <a:pt x="276" y="370"/>
                      <a:pt x="242" y="411"/>
                      <a:pt x="196" y="42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8" name="Freeform 42">
                <a:extLst>
                  <a:ext uri="{FF2B5EF4-FFF2-40B4-BE49-F238E27FC236}">
                    <a16:creationId xmlns:a16="http://schemas.microsoft.com/office/drawing/2014/main" id="{A173408B-6BBB-44D4-A307-C06A5BDEEB9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868025"/>
                <a:ext cx="277812" cy="395288"/>
              </a:xfrm>
              <a:custGeom>
                <a:avLst/>
                <a:gdLst>
                  <a:gd name="T0" fmla="*/ 175 w 348"/>
                  <a:gd name="T1" fmla="*/ 150 h 496"/>
                  <a:gd name="T2" fmla="*/ 75 w 348"/>
                  <a:gd name="T3" fmla="*/ 184 h 496"/>
                  <a:gd name="T4" fmla="*/ 75 w 348"/>
                  <a:gd name="T5" fmla="*/ 0 h 496"/>
                  <a:gd name="T6" fmla="*/ 0 w 348"/>
                  <a:gd name="T7" fmla="*/ 0 h 496"/>
                  <a:gd name="T8" fmla="*/ 0 w 348"/>
                  <a:gd name="T9" fmla="*/ 492 h 496"/>
                  <a:gd name="T10" fmla="*/ 75 w 348"/>
                  <a:gd name="T11" fmla="*/ 492 h 496"/>
                  <a:gd name="T12" fmla="*/ 75 w 348"/>
                  <a:gd name="T13" fmla="*/ 463 h 496"/>
                  <a:gd name="T14" fmla="*/ 175 w 348"/>
                  <a:gd name="T15" fmla="*/ 496 h 496"/>
                  <a:gd name="T16" fmla="*/ 348 w 348"/>
                  <a:gd name="T17" fmla="*/ 323 h 496"/>
                  <a:gd name="T18" fmla="*/ 175 w 348"/>
                  <a:gd name="T19" fmla="*/ 150 h 496"/>
                  <a:gd name="T20" fmla="*/ 214 w 348"/>
                  <a:gd name="T21" fmla="*/ 416 h 496"/>
                  <a:gd name="T22" fmla="*/ 175 w 348"/>
                  <a:gd name="T23" fmla="*/ 425 h 496"/>
                  <a:gd name="T24" fmla="*/ 152 w 348"/>
                  <a:gd name="T25" fmla="*/ 421 h 496"/>
                  <a:gd name="T26" fmla="*/ 72 w 348"/>
                  <a:gd name="T27" fmla="*/ 321 h 496"/>
                  <a:gd name="T28" fmla="*/ 175 w 348"/>
                  <a:gd name="T29" fmla="*/ 219 h 496"/>
                  <a:gd name="T30" fmla="*/ 277 w 348"/>
                  <a:gd name="T31" fmla="*/ 321 h 496"/>
                  <a:gd name="T32" fmla="*/ 214 w 348"/>
                  <a:gd name="T33" fmla="*/ 41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8" h="496">
                    <a:moveTo>
                      <a:pt x="175" y="150"/>
                    </a:moveTo>
                    <a:cubicBezTo>
                      <a:pt x="137" y="150"/>
                      <a:pt x="103" y="163"/>
                      <a:pt x="75" y="184"/>
                    </a:cubicBezTo>
                    <a:lnTo>
                      <a:pt x="75" y="0"/>
                    </a:lnTo>
                    <a:lnTo>
                      <a:pt x="0" y="0"/>
                    </a:lnTo>
                    <a:lnTo>
                      <a:pt x="0" y="492"/>
                    </a:lnTo>
                    <a:lnTo>
                      <a:pt x="75" y="492"/>
                    </a:lnTo>
                    <a:lnTo>
                      <a:pt x="75" y="463"/>
                    </a:lnTo>
                    <a:cubicBezTo>
                      <a:pt x="103" y="484"/>
                      <a:pt x="137" y="496"/>
                      <a:pt x="175" y="496"/>
                    </a:cubicBezTo>
                    <a:cubicBezTo>
                      <a:pt x="271" y="496"/>
                      <a:pt x="348" y="418"/>
                      <a:pt x="348" y="323"/>
                    </a:cubicBezTo>
                    <a:cubicBezTo>
                      <a:pt x="348" y="227"/>
                      <a:pt x="271" y="150"/>
                      <a:pt x="175" y="150"/>
                    </a:cubicBezTo>
                    <a:close/>
                    <a:moveTo>
                      <a:pt x="214" y="416"/>
                    </a:moveTo>
                    <a:cubicBezTo>
                      <a:pt x="202" y="421"/>
                      <a:pt x="189" y="425"/>
                      <a:pt x="175" y="425"/>
                    </a:cubicBezTo>
                    <a:cubicBezTo>
                      <a:pt x="167" y="425"/>
                      <a:pt x="159" y="423"/>
                      <a:pt x="152" y="421"/>
                    </a:cubicBezTo>
                    <a:cubicBezTo>
                      <a:pt x="106" y="411"/>
                      <a:pt x="72" y="370"/>
                      <a:pt x="72" y="321"/>
                    </a:cubicBezTo>
                    <a:cubicBezTo>
                      <a:pt x="72" y="265"/>
                      <a:pt x="118" y="219"/>
                      <a:pt x="175" y="219"/>
                    </a:cubicBezTo>
                    <a:cubicBezTo>
                      <a:pt x="231" y="219"/>
                      <a:pt x="277" y="265"/>
                      <a:pt x="277" y="321"/>
                    </a:cubicBezTo>
                    <a:cubicBezTo>
                      <a:pt x="277" y="364"/>
                      <a:pt x="251" y="401"/>
                      <a:pt x="214" y="4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22" name="Datumsplatzhalter 3">
            <a:extLst>
              <a:ext uri="{FF2B5EF4-FFF2-40B4-BE49-F238E27FC236}">
                <a16:creationId xmlns:a16="http://schemas.microsoft.com/office/drawing/2014/main" id="{1E301F60-41B8-4FF3-BE32-26DFD0EEC4F6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312000" y="4680000"/>
            <a:ext cx="720000" cy="144000"/>
          </a:xfrm>
        </p:spPr>
        <p:txBody>
          <a:bodyPr/>
          <a:lstStyle/>
          <a:p>
            <a:fld id="{31DFC331-2F97-43CF-997C-C80504E08480}" type="datetime1">
              <a:rPr lang="de-DE" smtClean="0"/>
              <a:t>24.11.2022</a:t>
            </a:fld>
            <a:endParaRPr lang="en-US"/>
          </a:p>
        </p:txBody>
      </p: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E010B886-F4E7-420A-84AB-1CD1B39C08E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 rot="16200000">
            <a:off x="-2304794" y="2160000"/>
            <a:ext cx="4464000" cy="144000"/>
          </a:xfrm>
        </p:spPr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B13932FC-1720-4B9B-81EB-D33C972388EE}"/>
              </a:ext>
            </a:extLst>
          </p:cNvPr>
          <p:cNvGrpSpPr/>
          <p:nvPr/>
        </p:nvGrpSpPr>
        <p:grpSpPr>
          <a:xfrm>
            <a:off x="7273850" y="1944379"/>
            <a:ext cx="1799182" cy="576000"/>
            <a:chOff x="5014368" y="1905816"/>
            <a:chExt cx="1799182" cy="553594"/>
          </a:xfrm>
        </p:grpSpPr>
        <p:sp>
          <p:nvSpPr>
            <p:cNvPr id="34" name="Rectangle 64">
              <a:extLst>
                <a:ext uri="{FF2B5EF4-FFF2-40B4-BE49-F238E27FC236}">
                  <a16:creationId xmlns:a16="http://schemas.microsoft.com/office/drawing/2014/main" id="{1490FCC3-E8E4-490B-9481-B941369D76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4368" y="1905816"/>
              <a:ext cx="1799182" cy="55359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65">
              <a:extLst>
                <a:ext uri="{FF2B5EF4-FFF2-40B4-BE49-F238E27FC236}">
                  <a16:creationId xmlns:a16="http://schemas.microsoft.com/office/drawing/2014/main" id="{D036FFD2-9E4F-4FE7-88F9-AFBAC07833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2756" y="2056941"/>
              <a:ext cx="1126278" cy="92266"/>
            </a:xfrm>
            <a:custGeom>
              <a:avLst/>
              <a:gdLst>
                <a:gd name="T0" fmla="*/ 1371 w 1412"/>
                <a:gd name="T1" fmla="*/ 50 h 116"/>
                <a:gd name="T2" fmla="*/ 1327 w 1412"/>
                <a:gd name="T3" fmla="*/ 28 h 116"/>
                <a:gd name="T4" fmla="*/ 1355 w 1412"/>
                <a:gd name="T5" fmla="*/ 14 h 116"/>
                <a:gd name="T6" fmla="*/ 1409 w 1412"/>
                <a:gd name="T7" fmla="*/ 50 h 116"/>
                <a:gd name="T8" fmla="*/ 1259 w 1412"/>
                <a:gd name="T9" fmla="*/ 99 h 116"/>
                <a:gd name="T10" fmla="*/ 1256 w 1412"/>
                <a:gd name="T11" fmla="*/ 91 h 116"/>
                <a:gd name="T12" fmla="*/ 1258 w 1412"/>
                <a:gd name="T13" fmla="*/ 51 h 116"/>
                <a:gd name="T14" fmla="*/ 1287 w 1412"/>
                <a:gd name="T15" fmla="*/ 114 h 116"/>
                <a:gd name="T16" fmla="*/ 1171 w 1412"/>
                <a:gd name="T17" fmla="*/ 2 h 116"/>
                <a:gd name="T18" fmla="*/ 1201 w 1412"/>
                <a:gd name="T19" fmla="*/ 114 h 116"/>
                <a:gd name="T20" fmla="*/ 1153 w 1412"/>
                <a:gd name="T21" fmla="*/ 2 h 116"/>
                <a:gd name="T22" fmla="*/ 1128 w 1412"/>
                <a:gd name="T23" fmla="*/ 55 h 116"/>
                <a:gd name="T24" fmla="*/ 1130 w 1412"/>
                <a:gd name="T25" fmla="*/ 94 h 116"/>
                <a:gd name="T26" fmla="*/ 1012 w 1412"/>
                <a:gd name="T27" fmla="*/ 93 h 116"/>
                <a:gd name="T28" fmla="*/ 1030 w 1412"/>
                <a:gd name="T29" fmla="*/ 80 h 116"/>
                <a:gd name="T30" fmla="*/ 1062 w 1412"/>
                <a:gd name="T31" fmla="*/ 43 h 116"/>
                <a:gd name="T32" fmla="*/ 1035 w 1412"/>
                <a:gd name="T33" fmla="*/ 66 h 116"/>
                <a:gd name="T34" fmla="*/ 1046 w 1412"/>
                <a:gd name="T35" fmla="*/ 114 h 116"/>
                <a:gd name="T36" fmla="*/ 958 w 1412"/>
                <a:gd name="T37" fmla="*/ 36 h 116"/>
                <a:gd name="T38" fmla="*/ 986 w 1412"/>
                <a:gd name="T39" fmla="*/ 101 h 116"/>
                <a:gd name="T40" fmla="*/ 958 w 1412"/>
                <a:gd name="T41" fmla="*/ 99 h 116"/>
                <a:gd name="T42" fmla="*/ 934 w 1412"/>
                <a:gd name="T43" fmla="*/ 34 h 116"/>
                <a:gd name="T44" fmla="*/ 895 w 1412"/>
                <a:gd name="T45" fmla="*/ 114 h 116"/>
                <a:gd name="T46" fmla="*/ 855 w 1412"/>
                <a:gd name="T47" fmla="*/ 19 h 116"/>
                <a:gd name="T48" fmla="*/ 728 w 1412"/>
                <a:gd name="T49" fmla="*/ 36 h 116"/>
                <a:gd name="T50" fmla="*/ 775 w 1412"/>
                <a:gd name="T51" fmla="*/ 36 h 116"/>
                <a:gd name="T52" fmla="*/ 821 w 1412"/>
                <a:gd name="T53" fmla="*/ 36 h 116"/>
                <a:gd name="T54" fmla="*/ 780 w 1412"/>
                <a:gd name="T55" fmla="*/ 67 h 116"/>
                <a:gd name="T56" fmla="*/ 692 w 1412"/>
                <a:gd name="T57" fmla="*/ 50 h 116"/>
                <a:gd name="T58" fmla="*/ 693 w 1412"/>
                <a:gd name="T59" fmla="*/ 66 h 116"/>
                <a:gd name="T60" fmla="*/ 607 w 1412"/>
                <a:gd name="T61" fmla="*/ 68 h 116"/>
                <a:gd name="T62" fmla="*/ 650 w 1412"/>
                <a:gd name="T63" fmla="*/ 44 h 116"/>
                <a:gd name="T64" fmla="*/ 649 w 1412"/>
                <a:gd name="T65" fmla="*/ 96 h 116"/>
                <a:gd name="T66" fmla="*/ 527 w 1412"/>
                <a:gd name="T67" fmla="*/ 93 h 116"/>
                <a:gd name="T68" fmla="*/ 545 w 1412"/>
                <a:gd name="T69" fmla="*/ 80 h 116"/>
                <a:gd name="T70" fmla="*/ 577 w 1412"/>
                <a:gd name="T71" fmla="*/ 43 h 116"/>
                <a:gd name="T72" fmla="*/ 550 w 1412"/>
                <a:gd name="T73" fmla="*/ 66 h 116"/>
                <a:gd name="T74" fmla="*/ 561 w 1412"/>
                <a:gd name="T75" fmla="*/ 114 h 116"/>
                <a:gd name="T76" fmla="*/ 490 w 1412"/>
                <a:gd name="T77" fmla="*/ 99 h 116"/>
                <a:gd name="T78" fmla="*/ 457 w 1412"/>
                <a:gd name="T79" fmla="*/ 66 h 116"/>
                <a:gd name="T80" fmla="*/ 483 w 1412"/>
                <a:gd name="T81" fmla="*/ 48 h 116"/>
                <a:gd name="T82" fmla="*/ 503 w 1412"/>
                <a:gd name="T83" fmla="*/ 76 h 116"/>
                <a:gd name="T84" fmla="*/ 451 w 1412"/>
                <a:gd name="T85" fmla="*/ 105 h 116"/>
                <a:gd name="T86" fmla="*/ 405 w 1412"/>
                <a:gd name="T87" fmla="*/ 78 h 116"/>
                <a:gd name="T88" fmla="*/ 415 w 1412"/>
                <a:gd name="T89" fmla="*/ 53 h 116"/>
                <a:gd name="T90" fmla="*/ 429 w 1412"/>
                <a:gd name="T91" fmla="*/ 43 h 116"/>
                <a:gd name="T92" fmla="*/ 379 w 1412"/>
                <a:gd name="T93" fmla="*/ 109 h 116"/>
                <a:gd name="T94" fmla="*/ 279 w 1412"/>
                <a:gd name="T95" fmla="*/ 79 h 116"/>
                <a:gd name="T96" fmla="*/ 334 w 1412"/>
                <a:gd name="T97" fmla="*/ 79 h 116"/>
                <a:gd name="T98" fmla="*/ 303 w 1412"/>
                <a:gd name="T99" fmla="*/ 35 h 116"/>
                <a:gd name="T100" fmla="*/ 182 w 1412"/>
                <a:gd name="T101" fmla="*/ 53 h 116"/>
                <a:gd name="T102" fmla="*/ 156 w 1412"/>
                <a:gd name="T103" fmla="*/ 37 h 116"/>
                <a:gd name="T104" fmla="*/ 158 w 1412"/>
                <a:gd name="T105" fmla="*/ 96 h 116"/>
                <a:gd name="T106" fmla="*/ 144 w 1412"/>
                <a:gd name="T107" fmla="*/ 105 h 116"/>
                <a:gd name="T108" fmla="*/ 106 w 1412"/>
                <a:gd name="T109" fmla="*/ 22 h 116"/>
                <a:gd name="T110" fmla="*/ 106 w 1412"/>
                <a:gd name="T111" fmla="*/ 22 h 116"/>
                <a:gd name="T112" fmla="*/ 26 w 1412"/>
                <a:gd name="T113" fmla="*/ 99 h 116"/>
                <a:gd name="T114" fmla="*/ 28 w 1412"/>
                <a:gd name="T115" fmla="*/ 11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12" h="116">
                  <a:moveTo>
                    <a:pt x="1412" y="113"/>
                  </a:moveTo>
                  <a:cubicBezTo>
                    <a:pt x="1410" y="113"/>
                    <a:pt x="1407" y="114"/>
                    <a:pt x="1405" y="115"/>
                  </a:cubicBezTo>
                  <a:cubicBezTo>
                    <a:pt x="1402" y="115"/>
                    <a:pt x="1399" y="116"/>
                    <a:pt x="1396" y="116"/>
                  </a:cubicBezTo>
                  <a:cubicBezTo>
                    <a:pt x="1391" y="116"/>
                    <a:pt x="1388" y="115"/>
                    <a:pt x="1385" y="114"/>
                  </a:cubicBezTo>
                  <a:cubicBezTo>
                    <a:pt x="1381" y="112"/>
                    <a:pt x="1379" y="110"/>
                    <a:pt x="1377" y="108"/>
                  </a:cubicBezTo>
                  <a:cubicBezTo>
                    <a:pt x="1375" y="105"/>
                    <a:pt x="1374" y="102"/>
                    <a:pt x="1373" y="99"/>
                  </a:cubicBezTo>
                  <a:cubicBezTo>
                    <a:pt x="1372" y="95"/>
                    <a:pt x="1371" y="92"/>
                    <a:pt x="1371" y="87"/>
                  </a:cubicBezTo>
                  <a:lnTo>
                    <a:pt x="1371" y="50"/>
                  </a:lnTo>
                  <a:lnTo>
                    <a:pt x="1345" y="50"/>
                  </a:lnTo>
                  <a:lnTo>
                    <a:pt x="1345" y="114"/>
                  </a:lnTo>
                  <a:lnTo>
                    <a:pt x="1327" y="114"/>
                  </a:lnTo>
                  <a:lnTo>
                    <a:pt x="1327" y="50"/>
                  </a:lnTo>
                  <a:lnTo>
                    <a:pt x="1317" y="50"/>
                  </a:lnTo>
                  <a:lnTo>
                    <a:pt x="1317" y="37"/>
                  </a:lnTo>
                  <a:lnTo>
                    <a:pt x="1327" y="36"/>
                  </a:lnTo>
                  <a:lnTo>
                    <a:pt x="1327" y="28"/>
                  </a:lnTo>
                  <a:cubicBezTo>
                    <a:pt x="1327" y="24"/>
                    <a:pt x="1328" y="20"/>
                    <a:pt x="1329" y="17"/>
                  </a:cubicBezTo>
                  <a:cubicBezTo>
                    <a:pt x="1330" y="13"/>
                    <a:pt x="1331" y="10"/>
                    <a:pt x="1333" y="8"/>
                  </a:cubicBezTo>
                  <a:cubicBezTo>
                    <a:pt x="1335" y="5"/>
                    <a:pt x="1338" y="3"/>
                    <a:pt x="1341" y="2"/>
                  </a:cubicBezTo>
                  <a:cubicBezTo>
                    <a:pt x="1345" y="1"/>
                    <a:pt x="1348" y="0"/>
                    <a:pt x="1353" y="0"/>
                  </a:cubicBezTo>
                  <a:cubicBezTo>
                    <a:pt x="1356" y="0"/>
                    <a:pt x="1358" y="0"/>
                    <a:pt x="1361" y="1"/>
                  </a:cubicBezTo>
                  <a:cubicBezTo>
                    <a:pt x="1363" y="1"/>
                    <a:pt x="1366" y="2"/>
                    <a:pt x="1367" y="3"/>
                  </a:cubicBezTo>
                  <a:lnTo>
                    <a:pt x="1364" y="16"/>
                  </a:lnTo>
                  <a:cubicBezTo>
                    <a:pt x="1361" y="15"/>
                    <a:pt x="1358" y="14"/>
                    <a:pt x="1355" y="14"/>
                  </a:cubicBezTo>
                  <a:cubicBezTo>
                    <a:pt x="1349" y="14"/>
                    <a:pt x="1345" y="19"/>
                    <a:pt x="1345" y="28"/>
                  </a:cubicBezTo>
                  <a:lnTo>
                    <a:pt x="1345" y="36"/>
                  </a:lnTo>
                  <a:lnTo>
                    <a:pt x="1372" y="36"/>
                  </a:lnTo>
                  <a:lnTo>
                    <a:pt x="1374" y="15"/>
                  </a:lnTo>
                  <a:lnTo>
                    <a:pt x="1389" y="15"/>
                  </a:lnTo>
                  <a:lnTo>
                    <a:pt x="1389" y="36"/>
                  </a:lnTo>
                  <a:lnTo>
                    <a:pt x="1409" y="36"/>
                  </a:lnTo>
                  <a:lnTo>
                    <a:pt x="1409" y="50"/>
                  </a:lnTo>
                  <a:lnTo>
                    <a:pt x="1389" y="50"/>
                  </a:lnTo>
                  <a:lnTo>
                    <a:pt x="1389" y="87"/>
                  </a:lnTo>
                  <a:cubicBezTo>
                    <a:pt x="1389" y="96"/>
                    <a:pt x="1393" y="101"/>
                    <a:pt x="1401" y="101"/>
                  </a:cubicBezTo>
                  <a:cubicBezTo>
                    <a:pt x="1402" y="101"/>
                    <a:pt x="1403" y="101"/>
                    <a:pt x="1405" y="101"/>
                  </a:cubicBezTo>
                  <a:cubicBezTo>
                    <a:pt x="1406" y="100"/>
                    <a:pt x="1407" y="100"/>
                    <a:pt x="1409" y="99"/>
                  </a:cubicBezTo>
                  <a:lnTo>
                    <a:pt x="1412" y="113"/>
                  </a:lnTo>
                  <a:close/>
                  <a:moveTo>
                    <a:pt x="1256" y="91"/>
                  </a:moveTo>
                  <a:cubicBezTo>
                    <a:pt x="1256" y="95"/>
                    <a:pt x="1257" y="97"/>
                    <a:pt x="1259" y="99"/>
                  </a:cubicBezTo>
                  <a:cubicBezTo>
                    <a:pt x="1261" y="101"/>
                    <a:pt x="1264" y="101"/>
                    <a:pt x="1267" y="101"/>
                  </a:cubicBezTo>
                  <a:cubicBezTo>
                    <a:pt x="1270" y="101"/>
                    <a:pt x="1273" y="101"/>
                    <a:pt x="1276" y="99"/>
                  </a:cubicBezTo>
                  <a:cubicBezTo>
                    <a:pt x="1278" y="98"/>
                    <a:pt x="1281" y="96"/>
                    <a:pt x="1284" y="93"/>
                  </a:cubicBezTo>
                  <a:lnTo>
                    <a:pt x="1284" y="75"/>
                  </a:lnTo>
                  <a:cubicBezTo>
                    <a:pt x="1278" y="76"/>
                    <a:pt x="1274" y="77"/>
                    <a:pt x="1270" y="78"/>
                  </a:cubicBezTo>
                  <a:cubicBezTo>
                    <a:pt x="1267" y="79"/>
                    <a:pt x="1264" y="80"/>
                    <a:pt x="1262" y="81"/>
                  </a:cubicBezTo>
                  <a:cubicBezTo>
                    <a:pt x="1260" y="83"/>
                    <a:pt x="1258" y="84"/>
                    <a:pt x="1257" y="86"/>
                  </a:cubicBezTo>
                  <a:cubicBezTo>
                    <a:pt x="1256" y="88"/>
                    <a:pt x="1256" y="89"/>
                    <a:pt x="1256" y="91"/>
                  </a:cubicBezTo>
                  <a:close/>
                  <a:moveTo>
                    <a:pt x="1238" y="93"/>
                  </a:moveTo>
                  <a:cubicBezTo>
                    <a:pt x="1238" y="84"/>
                    <a:pt x="1242" y="78"/>
                    <a:pt x="1249" y="73"/>
                  </a:cubicBezTo>
                  <a:cubicBezTo>
                    <a:pt x="1256" y="69"/>
                    <a:pt x="1268" y="66"/>
                    <a:pt x="1284" y="64"/>
                  </a:cubicBezTo>
                  <a:cubicBezTo>
                    <a:pt x="1284" y="62"/>
                    <a:pt x="1283" y="60"/>
                    <a:pt x="1283" y="58"/>
                  </a:cubicBezTo>
                  <a:cubicBezTo>
                    <a:pt x="1282" y="56"/>
                    <a:pt x="1282" y="55"/>
                    <a:pt x="1281" y="53"/>
                  </a:cubicBezTo>
                  <a:cubicBezTo>
                    <a:pt x="1279" y="52"/>
                    <a:pt x="1278" y="51"/>
                    <a:pt x="1276" y="50"/>
                  </a:cubicBezTo>
                  <a:cubicBezTo>
                    <a:pt x="1274" y="49"/>
                    <a:pt x="1272" y="49"/>
                    <a:pt x="1270" y="49"/>
                  </a:cubicBezTo>
                  <a:cubicBezTo>
                    <a:pt x="1266" y="49"/>
                    <a:pt x="1262" y="50"/>
                    <a:pt x="1258" y="51"/>
                  </a:cubicBezTo>
                  <a:cubicBezTo>
                    <a:pt x="1255" y="52"/>
                    <a:pt x="1251" y="54"/>
                    <a:pt x="1248" y="56"/>
                  </a:cubicBezTo>
                  <a:lnTo>
                    <a:pt x="1241" y="44"/>
                  </a:lnTo>
                  <a:cubicBezTo>
                    <a:pt x="1245" y="41"/>
                    <a:pt x="1250" y="39"/>
                    <a:pt x="1256" y="37"/>
                  </a:cubicBezTo>
                  <a:cubicBezTo>
                    <a:pt x="1261" y="35"/>
                    <a:pt x="1267" y="34"/>
                    <a:pt x="1273" y="34"/>
                  </a:cubicBezTo>
                  <a:cubicBezTo>
                    <a:pt x="1283" y="34"/>
                    <a:pt x="1290" y="37"/>
                    <a:pt x="1295" y="43"/>
                  </a:cubicBezTo>
                  <a:cubicBezTo>
                    <a:pt x="1300" y="48"/>
                    <a:pt x="1302" y="57"/>
                    <a:pt x="1302" y="68"/>
                  </a:cubicBezTo>
                  <a:lnTo>
                    <a:pt x="1302" y="114"/>
                  </a:lnTo>
                  <a:lnTo>
                    <a:pt x="1287" y="114"/>
                  </a:lnTo>
                  <a:lnTo>
                    <a:pt x="1286" y="105"/>
                  </a:lnTo>
                  <a:lnTo>
                    <a:pt x="1285" y="105"/>
                  </a:lnTo>
                  <a:cubicBezTo>
                    <a:pt x="1282" y="108"/>
                    <a:pt x="1278" y="111"/>
                    <a:pt x="1274" y="113"/>
                  </a:cubicBezTo>
                  <a:cubicBezTo>
                    <a:pt x="1270" y="115"/>
                    <a:pt x="1266" y="116"/>
                    <a:pt x="1261" y="116"/>
                  </a:cubicBezTo>
                  <a:cubicBezTo>
                    <a:pt x="1254" y="116"/>
                    <a:pt x="1249" y="114"/>
                    <a:pt x="1244" y="109"/>
                  </a:cubicBezTo>
                  <a:cubicBezTo>
                    <a:pt x="1240" y="105"/>
                    <a:pt x="1238" y="100"/>
                    <a:pt x="1238" y="93"/>
                  </a:cubicBezTo>
                  <a:close/>
                  <a:moveTo>
                    <a:pt x="1153" y="2"/>
                  </a:moveTo>
                  <a:lnTo>
                    <a:pt x="1171" y="2"/>
                  </a:lnTo>
                  <a:lnTo>
                    <a:pt x="1171" y="31"/>
                  </a:lnTo>
                  <a:lnTo>
                    <a:pt x="1171" y="46"/>
                  </a:lnTo>
                  <a:cubicBezTo>
                    <a:pt x="1174" y="43"/>
                    <a:pt x="1177" y="40"/>
                    <a:pt x="1181" y="38"/>
                  </a:cubicBezTo>
                  <a:cubicBezTo>
                    <a:pt x="1185" y="35"/>
                    <a:pt x="1190" y="34"/>
                    <a:pt x="1195" y="34"/>
                  </a:cubicBezTo>
                  <a:cubicBezTo>
                    <a:pt x="1204" y="34"/>
                    <a:pt x="1210" y="37"/>
                    <a:pt x="1214" y="42"/>
                  </a:cubicBezTo>
                  <a:cubicBezTo>
                    <a:pt x="1217" y="47"/>
                    <a:pt x="1219" y="55"/>
                    <a:pt x="1219" y="65"/>
                  </a:cubicBezTo>
                  <a:lnTo>
                    <a:pt x="1219" y="114"/>
                  </a:lnTo>
                  <a:lnTo>
                    <a:pt x="1201" y="114"/>
                  </a:lnTo>
                  <a:lnTo>
                    <a:pt x="1201" y="67"/>
                  </a:lnTo>
                  <a:cubicBezTo>
                    <a:pt x="1201" y="61"/>
                    <a:pt x="1200" y="56"/>
                    <a:pt x="1198" y="54"/>
                  </a:cubicBezTo>
                  <a:cubicBezTo>
                    <a:pt x="1196" y="51"/>
                    <a:pt x="1193" y="50"/>
                    <a:pt x="1189" y="50"/>
                  </a:cubicBezTo>
                  <a:cubicBezTo>
                    <a:pt x="1186" y="50"/>
                    <a:pt x="1183" y="51"/>
                    <a:pt x="1180" y="52"/>
                  </a:cubicBezTo>
                  <a:cubicBezTo>
                    <a:pt x="1177" y="54"/>
                    <a:pt x="1174" y="56"/>
                    <a:pt x="1171" y="59"/>
                  </a:cubicBezTo>
                  <a:lnTo>
                    <a:pt x="1171" y="114"/>
                  </a:lnTo>
                  <a:lnTo>
                    <a:pt x="1153" y="114"/>
                  </a:lnTo>
                  <a:lnTo>
                    <a:pt x="1153" y="2"/>
                  </a:lnTo>
                  <a:close/>
                  <a:moveTo>
                    <a:pt x="1075" y="75"/>
                  </a:moveTo>
                  <a:cubicBezTo>
                    <a:pt x="1075" y="68"/>
                    <a:pt x="1076" y="63"/>
                    <a:pt x="1078" y="58"/>
                  </a:cubicBezTo>
                  <a:cubicBezTo>
                    <a:pt x="1080" y="53"/>
                    <a:pt x="1083" y="48"/>
                    <a:pt x="1086" y="45"/>
                  </a:cubicBezTo>
                  <a:cubicBezTo>
                    <a:pt x="1090" y="41"/>
                    <a:pt x="1094" y="39"/>
                    <a:pt x="1099" y="37"/>
                  </a:cubicBezTo>
                  <a:cubicBezTo>
                    <a:pt x="1104" y="35"/>
                    <a:pt x="1109" y="34"/>
                    <a:pt x="1114" y="34"/>
                  </a:cubicBezTo>
                  <a:cubicBezTo>
                    <a:pt x="1119" y="34"/>
                    <a:pt x="1123" y="35"/>
                    <a:pt x="1127" y="37"/>
                  </a:cubicBezTo>
                  <a:cubicBezTo>
                    <a:pt x="1131" y="38"/>
                    <a:pt x="1134" y="41"/>
                    <a:pt x="1136" y="43"/>
                  </a:cubicBezTo>
                  <a:lnTo>
                    <a:pt x="1128" y="55"/>
                  </a:lnTo>
                  <a:cubicBezTo>
                    <a:pt x="1126" y="53"/>
                    <a:pt x="1124" y="51"/>
                    <a:pt x="1121" y="50"/>
                  </a:cubicBezTo>
                  <a:cubicBezTo>
                    <a:pt x="1119" y="49"/>
                    <a:pt x="1117" y="49"/>
                    <a:pt x="1115" y="49"/>
                  </a:cubicBezTo>
                  <a:cubicBezTo>
                    <a:pt x="1108" y="49"/>
                    <a:pt x="1103" y="51"/>
                    <a:pt x="1099" y="56"/>
                  </a:cubicBezTo>
                  <a:cubicBezTo>
                    <a:pt x="1095" y="61"/>
                    <a:pt x="1093" y="67"/>
                    <a:pt x="1093" y="75"/>
                  </a:cubicBezTo>
                  <a:cubicBezTo>
                    <a:pt x="1093" y="83"/>
                    <a:pt x="1095" y="89"/>
                    <a:pt x="1099" y="94"/>
                  </a:cubicBezTo>
                  <a:cubicBezTo>
                    <a:pt x="1103" y="98"/>
                    <a:pt x="1108" y="101"/>
                    <a:pt x="1114" y="101"/>
                  </a:cubicBezTo>
                  <a:cubicBezTo>
                    <a:pt x="1117" y="101"/>
                    <a:pt x="1120" y="100"/>
                    <a:pt x="1123" y="99"/>
                  </a:cubicBezTo>
                  <a:cubicBezTo>
                    <a:pt x="1126" y="97"/>
                    <a:pt x="1128" y="96"/>
                    <a:pt x="1130" y="94"/>
                  </a:cubicBezTo>
                  <a:lnTo>
                    <a:pt x="1138" y="106"/>
                  </a:lnTo>
                  <a:cubicBezTo>
                    <a:pt x="1134" y="109"/>
                    <a:pt x="1130" y="111"/>
                    <a:pt x="1126" y="113"/>
                  </a:cubicBezTo>
                  <a:cubicBezTo>
                    <a:pt x="1121" y="115"/>
                    <a:pt x="1117" y="116"/>
                    <a:pt x="1112" y="116"/>
                  </a:cubicBezTo>
                  <a:cubicBezTo>
                    <a:pt x="1107" y="116"/>
                    <a:pt x="1102" y="115"/>
                    <a:pt x="1097" y="113"/>
                  </a:cubicBezTo>
                  <a:cubicBezTo>
                    <a:pt x="1093" y="111"/>
                    <a:pt x="1089" y="108"/>
                    <a:pt x="1086" y="105"/>
                  </a:cubicBezTo>
                  <a:cubicBezTo>
                    <a:pt x="1082" y="101"/>
                    <a:pt x="1079" y="97"/>
                    <a:pt x="1078" y="92"/>
                  </a:cubicBezTo>
                  <a:cubicBezTo>
                    <a:pt x="1076" y="87"/>
                    <a:pt x="1075" y="81"/>
                    <a:pt x="1075" y="75"/>
                  </a:cubicBezTo>
                  <a:close/>
                  <a:moveTo>
                    <a:pt x="1012" y="93"/>
                  </a:moveTo>
                  <a:cubicBezTo>
                    <a:pt x="1016" y="96"/>
                    <a:pt x="1019" y="98"/>
                    <a:pt x="1023" y="100"/>
                  </a:cubicBezTo>
                  <a:cubicBezTo>
                    <a:pt x="1026" y="101"/>
                    <a:pt x="1030" y="102"/>
                    <a:pt x="1034" y="102"/>
                  </a:cubicBezTo>
                  <a:cubicBezTo>
                    <a:pt x="1038" y="102"/>
                    <a:pt x="1041" y="101"/>
                    <a:pt x="1043" y="99"/>
                  </a:cubicBezTo>
                  <a:cubicBezTo>
                    <a:pt x="1045" y="97"/>
                    <a:pt x="1046" y="95"/>
                    <a:pt x="1046" y="92"/>
                  </a:cubicBezTo>
                  <a:cubicBezTo>
                    <a:pt x="1046" y="91"/>
                    <a:pt x="1046" y="89"/>
                    <a:pt x="1045" y="88"/>
                  </a:cubicBezTo>
                  <a:cubicBezTo>
                    <a:pt x="1044" y="87"/>
                    <a:pt x="1043" y="86"/>
                    <a:pt x="1041" y="85"/>
                  </a:cubicBezTo>
                  <a:cubicBezTo>
                    <a:pt x="1039" y="84"/>
                    <a:pt x="1038" y="83"/>
                    <a:pt x="1036" y="82"/>
                  </a:cubicBezTo>
                  <a:cubicBezTo>
                    <a:pt x="1034" y="82"/>
                    <a:pt x="1032" y="81"/>
                    <a:pt x="1030" y="80"/>
                  </a:cubicBezTo>
                  <a:cubicBezTo>
                    <a:pt x="1027" y="79"/>
                    <a:pt x="1024" y="78"/>
                    <a:pt x="1022" y="77"/>
                  </a:cubicBezTo>
                  <a:cubicBezTo>
                    <a:pt x="1019" y="75"/>
                    <a:pt x="1017" y="74"/>
                    <a:pt x="1015" y="72"/>
                  </a:cubicBezTo>
                  <a:cubicBezTo>
                    <a:pt x="1013" y="70"/>
                    <a:pt x="1011" y="68"/>
                    <a:pt x="1010" y="66"/>
                  </a:cubicBezTo>
                  <a:cubicBezTo>
                    <a:pt x="1008" y="63"/>
                    <a:pt x="1008" y="61"/>
                    <a:pt x="1008" y="57"/>
                  </a:cubicBezTo>
                  <a:cubicBezTo>
                    <a:pt x="1008" y="50"/>
                    <a:pt x="1010" y="45"/>
                    <a:pt x="1015" y="41"/>
                  </a:cubicBezTo>
                  <a:cubicBezTo>
                    <a:pt x="1020" y="36"/>
                    <a:pt x="1027" y="34"/>
                    <a:pt x="1036" y="34"/>
                  </a:cubicBezTo>
                  <a:cubicBezTo>
                    <a:pt x="1041" y="34"/>
                    <a:pt x="1046" y="35"/>
                    <a:pt x="1051" y="37"/>
                  </a:cubicBezTo>
                  <a:cubicBezTo>
                    <a:pt x="1055" y="39"/>
                    <a:pt x="1059" y="41"/>
                    <a:pt x="1062" y="43"/>
                  </a:cubicBezTo>
                  <a:lnTo>
                    <a:pt x="1054" y="54"/>
                  </a:lnTo>
                  <a:cubicBezTo>
                    <a:pt x="1051" y="52"/>
                    <a:pt x="1048" y="51"/>
                    <a:pt x="1045" y="50"/>
                  </a:cubicBezTo>
                  <a:cubicBezTo>
                    <a:pt x="1042" y="48"/>
                    <a:pt x="1039" y="48"/>
                    <a:pt x="1036" y="48"/>
                  </a:cubicBezTo>
                  <a:cubicBezTo>
                    <a:pt x="1033" y="48"/>
                    <a:pt x="1030" y="49"/>
                    <a:pt x="1028" y="50"/>
                  </a:cubicBezTo>
                  <a:cubicBezTo>
                    <a:pt x="1026" y="52"/>
                    <a:pt x="1025" y="54"/>
                    <a:pt x="1025" y="56"/>
                  </a:cubicBezTo>
                  <a:cubicBezTo>
                    <a:pt x="1025" y="58"/>
                    <a:pt x="1025" y="59"/>
                    <a:pt x="1026" y="60"/>
                  </a:cubicBezTo>
                  <a:cubicBezTo>
                    <a:pt x="1027" y="62"/>
                    <a:pt x="1028" y="63"/>
                    <a:pt x="1030" y="63"/>
                  </a:cubicBezTo>
                  <a:cubicBezTo>
                    <a:pt x="1031" y="64"/>
                    <a:pt x="1033" y="65"/>
                    <a:pt x="1035" y="66"/>
                  </a:cubicBezTo>
                  <a:cubicBezTo>
                    <a:pt x="1037" y="66"/>
                    <a:pt x="1039" y="67"/>
                    <a:pt x="1041" y="68"/>
                  </a:cubicBezTo>
                  <a:cubicBezTo>
                    <a:pt x="1044" y="69"/>
                    <a:pt x="1046" y="70"/>
                    <a:pt x="1049" y="71"/>
                  </a:cubicBezTo>
                  <a:cubicBezTo>
                    <a:pt x="1052" y="72"/>
                    <a:pt x="1054" y="74"/>
                    <a:pt x="1056" y="76"/>
                  </a:cubicBezTo>
                  <a:cubicBezTo>
                    <a:pt x="1058" y="77"/>
                    <a:pt x="1060" y="80"/>
                    <a:pt x="1062" y="82"/>
                  </a:cubicBezTo>
                  <a:cubicBezTo>
                    <a:pt x="1063" y="85"/>
                    <a:pt x="1063" y="88"/>
                    <a:pt x="1063" y="92"/>
                  </a:cubicBezTo>
                  <a:cubicBezTo>
                    <a:pt x="1063" y="95"/>
                    <a:pt x="1063" y="98"/>
                    <a:pt x="1062" y="101"/>
                  </a:cubicBezTo>
                  <a:cubicBezTo>
                    <a:pt x="1060" y="104"/>
                    <a:pt x="1058" y="106"/>
                    <a:pt x="1056" y="109"/>
                  </a:cubicBezTo>
                  <a:cubicBezTo>
                    <a:pt x="1053" y="111"/>
                    <a:pt x="1050" y="112"/>
                    <a:pt x="1046" y="114"/>
                  </a:cubicBezTo>
                  <a:cubicBezTo>
                    <a:pt x="1042" y="115"/>
                    <a:pt x="1038" y="116"/>
                    <a:pt x="1033" y="116"/>
                  </a:cubicBezTo>
                  <a:cubicBezTo>
                    <a:pt x="1028" y="116"/>
                    <a:pt x="1023" y="115"/>
                    <a:pt x="1017" y="113"/>
                  </a:cubicBezTo>
                  <a:cubicBezTo>
                    <a:pt x="1012" y="110"/>
                    <a:pt x="1008" y="108"/>
                    <a:pt x="1004" y="105"/>
                  </a:cubicBezTo>
                  <a:lnTo>
                    <a:pt x="1012" y="93"/>
                  </a:lnTo>
                  <a:close/>
                  <a:moveTo>
                    <a:pt x="957" y="50"/>
                  </a:moveTo>
                  <a:lnTo>
                    <a:pt x="946" y="50"/>
                  </a:lnTo>
                  <a:lnTo>
                    <a:pt x="946" y="37"/>
                  </a:lnTo>
                  <a:lnTo>
                    <a:pt x="958" y="36"/>
                  </a:lnTo>
                  <a:lnTo>
                    <a:pt x="960" y="15"/>
                  </a:lnTo>
                  <a:lnTo>
                    <a:pt x="975" y="15"/>
                  </a:lnTo>
                  <a:lnTo>
                    <a:pt x="975" y="36"/>
                  </a:lnTo>
                  <a:lnTo>
                    <a:pt x="995" y="36"/>
                  </a:lnTo>
                  <a:lnTo>
                    <a:pt x="995" y="50"/>
                  </a:lnTo>
                  <a:lnTo>
                    <a:pt x="975" y="50"/>
                  </a:lnTo>
                  <a:lnTo>
                    <a:pt x="975" y="87"/>
                  </a:lnTo>
                  <a:cubicBezTo>
                    <a:pt x="975" y="96"/>
                    <a:pt x="979" y="101"/>
                    <a:pt x="986" y="101"/>
                  </a:cubicBezTo>
                  <a:cubicBezTo>
                    <a:pt x="988" y="101"/>
                    <a:pt x="989" y="101"/>
                    <a:pt x="991" y="101"/>
                  </a:cubicBezTo>
                  <a:cubicBezTo>
                    <a:pt x="992" y="100"/>
                    <a:pt x="993" y="100"/>
                    <a:pt x="994" y="99"/>
                  </a:cubicBezTo>
                  <a:lnTo>
                    <a:pt x="998" y="113"/>
                  </a:lnTo>
                  <a:cubicBezTo>
                    <a:pt x="996" y="113"/>
                    <a:pt x="993" y="114"/>
                    <a:pt x="990" y="115"/>
                  </a:cubicBezTo>
                  <a:cubicBezTo>
                    <a:pt x="988" y="115"/>
                    <a:pt x="985" y="116"/>
                    <a:pt x="982" y="116"/>
                  </a:cubicBezTo>
                  <a:cubicBezTo>
                    <a:pt x="977" y="116"/>
                    <a:pt x="973" y="115"/>
                    <a:pt x="970" y="114"/>
                  </a:cubicBezTo>
                  <a:cubicBezTo>
                    <a:pt x="967" y="112"/>
                    <a:pt x="965" y="110"/>
                    <a:pt x="963" y="108"/>
                  </a:cubicBezTo>
                  <a:cubicBezTo>
                    <a:pt x="961" y="105"/>
                    <a:pt x="959" y="102"/>
                    <a:pt x="958" y="99"/>
                  </a:cubicBezTo>
                  <a:cubicBezTo>
                    <a:pt x="958" y="95"/>
                    <a:pt x="957" y="92"/>
                    <a:pt x="957" y="87"/>
                  </a:cubicBezTo>
                  <a:lnTo>
                    <a:pt x="957" y="50"/>
                  </a:lnTo>
                  <a:close/>
                  <a:moveTo>
                    <a:pt x="895" y="36"/>
                  </a:moveTo>
                  <a:lnTo>
                    <a:pt x="910" y="36"/>
                  </a:lnTo>
                  <a:lnTo>
                    <a:pt x="912" y="50"/>
                  </a:lnTo>
                  <a:lnTo>
                    <a:pt x="912" y="50"/>
                  </a:lnTo>
                  <a:cubicBezTo>
                    <a:pt x="915" y="45"/>
                    <a:pt x="918" y="41"/>
                    <a:pt x="922" y="38"/>
                  </a:cubicBezTo>
                  <a:cubicBezTo>
                    <a:pt x="926" y="35"/>
                    <a:pt x="930" y="34"/>
                    <a:pt x="934" y="34"/>
                  </a:cubicBezTo>
                  <a:cubicBezTo>
                    <a:pt x="938" y="34"/>
                    <a:pt x="941" y="35"/>
                    <a:pt x="943" y="36"/>
                  </a:cubicBezTo>
                  <a:lnTo>
                    <a:pt x="940" y="51"/>
                  </a:lnTo>
                  <a:cubicBezTo>
                    <a:pt x="939" y="51"/>
                    <a:pt x="937" y="51"/>
                    <a:pt x="936" y="51"/>
                  </a:cubicBezTo>
                  <a:cubicBezTo>
                    <a:pt x="935" y="50"/>
                    <a:pt x="934" y="50"/>
                    <a:pt x="932" y="50"/>
                  </a:cubicBezTo>
                  <a:cubicBezTo>
                    <a:pt x="929" y="50"/>
                    <a:pt x="926" y="51"/>
                    <a:pt x="922" y="54"/>
                  </a:cubicBezTo>
                  <a:cubicBezTo>
                    <a:pt x="919" y="56"/>
                    <a:pt x="916" y="60"/>
                    <a:pt x="914" y="66"/>
                  </a:cubicBezTo>
                  <a:lnTo>
                    <a:pt x="914" y="114"/>
                  </a:lnTo>
                  <a:lnTo>
                    <a:pt x="895" y="114"/>
                  </a:lnTo>
                  <a:lnTo>
                    <a:pt x="895" y="36"/>
                  </a:lnTo>
                  <a:close/>
                  <a:moveTo>
                    <a:pt x="854" y="36"/>
                  </a:moveTo>
                  <a:lnTo>
                    <a:pt x="872" y="36"/>
                  </a:lnTo>
                  <a:lnTo>
                    <a:pt x="872" y="114"/>
                  </a:lnTo>
                  <a:lnTo>
                    <a:pt x="854" y="114"/>
                  </a:lnTo>
                  <a:lnTo>
                    <a:pt x="854" y="36"/>
                  </a:lnTo>
                  <a:close/>
                  <a:moveTo>
                    <a:pt x="863" y="22"/>
                  </a:moveTo>
                  <a:cubicBezTo>
                    <a:pt x="860" y="22"/>
                    <a:pt x="857" y="21"/>
                    <a:pt x="855" y="19"/>
                  </a:cubicBezTo>
                  <a:cubicBezTo>
                    <a:pt x="853" y="18"/>
                    <a:pt x="852" y="15"/>
                    <a:pt x="852" y="12"/>
                  </a:cubicBezTo>
                  <a:cubicBezTo>
                    <a:pt x="852" y="9"/>
                    <a:pt x="853" y="6"/>
                    <a:pt x="855" y="5"/>
                  </a:cubicBezTo>
                  <a:cubicBezTo>
                    <a:pt x="857" y="3"/>
                    <a:pt x="860" y="2"/>
                    <a:pt x="863" y="2"/>
                  </a:cubicBezTo>
                  <a:cubicBezTo>
                    <a:pt x="866" y="2"/>
                    <a:pt x="869" y="3"/>
                    <a:pt x="871" y="5"/>
                  </a:cubicBezTo>
                  <a:cubicBezTo>
                    <a:pt x="873" y="6"/>
                    <a:pt x="874" y="9"/>
                    <a:pt x="874" y="12"/>
                  </a:cubicBezTo>
                  <a:cubicBezTo>
                    <a:pt x="874" y="15"/>
                    <a:pt x="873" y="18"/>
                    <a:pt x="871" y="19"/>
                  </a:cubicBezTo>
                  <a:cubicBezTo>
                    <a:pt x="869" y="21"/>
                    <a:pt x="866" y="22"/>
                    <a:pt x="863" y="22"/>
                  </a:cubicBezTo>
                  <a:close/>
                  <a:moveTo>
                    <a:pt x="728" y="36"/>
                  </a:moveTo>
                  <a:lnTo>
                    <a:pt x="746" y="36"/>
                  </a:lnTo>
                  <a:lnTo>
                    <a:pt x="755" y="76"/>
                  </a:lnTo>
                  <a:cubicBezTo>
                    <a:pt x="756" y="80"/>
                    <a:pt x="757" y="84"/>
                    <a:pt x="758" y="87"/>
                  </a:cubicBezTo>
                  <a:cubicBezTo>
                    <a:pt x="758" y="91"/>
                    <a:pt x="759" y="95"/>
                    <a:pt x="760" y="99"/>
                  </a:cubicBezTo>
                  <a:lnTo>
                    <a:pt x="760" y="99"/>
                  </a:lnTo>
                  <a:cubicBezTo>
                    <a:pt x="761" y="95"/>
                    <a:pt x="762" y="91"/>
                    <a:pt x="762" y="87"/>
                  </a:cubicBezTo>
                  <a:cubicBezTo>
                    <a:pt x="763" y="84"/>
                    <a:pt x="764" y="80"/>
                    <a:pt x="765" y="76"/>
                  </a:cubicBezTo>
                  <a:lnTo>
                    <a:pt x="775" y="36"/>
                  </a:lnTo>
                  <a:lnTo>
                    <a:pt x="792" y="36"/>
                  </a:lnTo>
                  <a:lnTo>
                    <a:pt x="802" y="76"/>
                  </a:lnTo>
                  <a:cubicBezTo>
                    <a:pt x="803" y="80"/>
                    <a:pt x="804" y="84"/>
                    <a:pt x="805" y="87"/>
                  </a:cubicBezTo>
                  <a:cubicBezTo>
                    <a:pt x="806" y="91"/>
                    <a:pt x="806" y="95"/>
                    <a:pt x="807" y="99"/>
                  </a:cubicBezTo>
                  <a:lnTo>
                    <a:pt x="808" y="99"/>
                  </a:lnTo>
                  <a:cubicBezTo>
                    <a:pt x="809" y="95"/>
                    <a:pt x="809" y="91"/>
                    <a:pt x="810" y="87"/>
                  </a:cubicBezTo>
                  <a:cubicBezTo>
                    <a:pt x="811" y="84"/>
                    <a:pt x="811" y="80"/>
                    <a:pt x="812" y="76"/>
                  </a:cubicBezTo>
                  <a:lnTo>
                    <a:pt x="821" y="36"/>
                  </a:lnTo>
                  <a:lnTo>
                    <a:pt x="839" y="36"/>
                  </a:lnTo>
                  <a:lnTo>
                    <a:pt x="819" y="114"/>
                  </a:lnTo>
                  <a:lnTo>
                    <a:pt x="797" y="114"/>
                  </a:lnTo>
                  <a:lnTo>
                    <a:pt x="788" y="77"/>
                  </a:lnTo>
                  <a:cubicBezTo>
                    <a:pt x="787" y="74"/>
                    <a:pt x="786" y="70"/>
                    <a:pt x="786" y="66"/>
                  </a:cubicBezTo>
                  <a:cubicBezTo>
                    <a:pt x="785" y="63"/>
                    <a:pt x="784" y="59"/>
                    <a:pt x="783" y="55"/>
                  </a:cubicBezTo>
                  <a:lnTo>
                    <a:pt x="783" y="55"/>
                  </a:lnTo>
                  <a:cubicBezTo>
                    <a:pt x="782" y="59"/>
                    <a:pt x="781" y="63"/>
                    <a:pt x="780" y="67"/>
                  </a:cubicBezTo>
                  <a:cubicBezTo>
                    <a:pt x="780" y="70"/>
                    <a:pt x="779" y="74"/>
                    <a:pt x="778" y="78"/>
                  </a:cubicBezTo>
                  <a:lnTo>
                    <a:pt x="769" y="114"/>
                  </a:lnTo>
                  <a:lnTo>
                    <a:pt x="748" y="114"/>
                  </a:lnTo>
                  <a:lnTo>
                    <a:pt x="728" y="36"/>
                  </a:lnTo>
                  <a:close/>
                  <a:moveTo>
                    <a:pt x="675" y="36"/>
                  </a:moveTo>
                  <a:lnTo>
                    <a:pt x="690" y="36"/>
                  </a:lnTo>
                  <a:lnTo>
                    <a:pt x="691" y="50"/>
                  </a:lnTo>
                  <a:lnTo>
                    <a:pt x="692" y="50"/>
                  </a:lnTo>
                  <a:cubicBezTo>
                    <a:pt x="695" y="45"/>
                    <a:pt x="698" y="41"/>
                    <a:pt x="702" y="38"/>
                  </a:cubicBezTo>
                  <a:cubicBezTo>
                    <a:pt x="706" y="35"/>
                    <a:pt x="710" y="34"/>
                    <a:pt x="714" y="34"/>
                  </a:cubicBezTo>
                  <a:cubicBezTo>
                    <a:pt x="718" y="34"/>
                    <a:pt x="721" y="35"/>
                    <a:pt x="723" y="36"/>
                  </a:cubicBezTo>
                  <a:lnTo>
                    <a:pt x="720" y="51"/>
                  </a:lnTo>
                  <a:cubicBezTo>
                    <a:pt x="718" y="51"/>
                    <a:pt x="717" y="51"/>
                    <a:pt x="716" y="51"/>
                  </a:cubicBezTo>
                  <a:cubicBezTo>
                    <a:pt x="715" y="50"/>
                    <a:pt x="713" y="50"/>
                    <a:pt x="712" y="50"/>
                  </a:cubicBezTo>
                  <a:cubicBezTo>
                    <a:pt x="709" y="50"/>
                    <a:pt x="705" y="51"/>
                    <a:pt x="702" y="54"/>
                  </a:cubicBezTo>
                  <a:cubicBezTo>
                    <a:pt x="699" y="56"/>
                    <a:pt x="696" y="60"/>
                    <a:pt x="693" y="66"/>
                  </a:cubicBezTo>
                  <a:lnTo>
                    <a:pt x="693" y="114"/>
                  </a:lnTo>
                  <a:lnTo>
                    <a:pt x="675" y="114"/>
                  </a:lnTo>
                  <a:lnTo>
                    <a:pt x="675" y="36"/>
                  </a:lnTo>
                  <a:close/>
                  <a:moveTo>
                    <a:pt x="642" y="68"/>
                  </a:moveTo>
                  <a:cubicBezTo>
                    <a:pt x="642" y="62"/>
                    <a:pt x="641" y="57"/>
                    <a:pt x="638" y="53"/>
                  </a:cubicBezTo>
                  <a:cubicBezTo>
                    <a:pt x="635" y="50"/>
                    <a:pt x="631" y="48"/>
                    <a:pt x="626" y="48"/>
                  </a:cubicBezTo>
                  <a:cubicBezTo>
                    <a:pt x="621" y="48"/>
                    <a:pt x="617" y="50"/>
                    <a:pt x="614" y="53"/>
                  </a:cubicBezTo>
                  <a:cubicBezTo>
                    <a:pt x="610" y="56"/>
                    <a:pt x="608" y="61"/>
                    <a:pt x="607" y="68"/>
                  </a:cubicBezTo>
                  <a:lnTo>
                    <a:pt x="642" y="68"/>
                  </a:lnTo>
                  <a:close/>
                  <a:moveTo>
                    <a:pt x="590" y="75"/>
                  </a:moveTo>
                  <a:cubicBezTo>
                    <a:pt x="590" y="69"/>
                    <a:pt x="591" y="63"/>
                    <a:pt x="593" y="58"/>
                  </a:cubicBezTo>
                  <a:cubicBezTo>
                    <a:pt x="595" y="53"/>
                    <a:pt x="597" y="48"/>
                    <a:pt x="601" y="45"/>
                  </a:cubicBezTo>
                  <a:cubicBezTo>
                    <a:pt x="604" y="41"/>
                    <a:pt x="608" y="39"/>
                    <a:pt x="612" y="37"/>
                  </a:cubicBezTo>
                  <a:cubicBezTo>
                    <a:pt x="617" y="35"/>
                    <a:pt x="621" y="34"/>
                    <a:pt x="626" y="34"/>
                  </a:cubicBezTo>
                  <a:cubicBezTo>
                    <a:pt x="631" y="34"/>
                    <a:pt x="635" y="35"/>
                    <a:pt x="639" y="37"/>
                  </a:cubicBezTo>
                  <a:cubicBezTo>
                    <a:pt x="644" y="39"/>
                    <a:pt x="647" y="41"/>
                    <a:pt x="650" y="44"/>
                  </a:cubicBezTo>
                  <a:cubicBezTo>
                    <a:pt x="652" y="48"/>
                    <a:pt x="654" y="52"/>
                    <a:pt x="656" y="56"/>
                  </a:cubicBezTo>
                  <a:cubicBezTo>
                    <a:pt x="657" y="61"/>
                    <a:pt x="658" y="66"/>
                    <a:pt x="658" y="71"/>
                  </a:cubicBezTo>
                  <a:cubicBezTo>
                    <a:pt x="658" y="75"/>
                    <a:pt x="657" y="77"/>
                    <a:pt x="657" y="79"/>
                  </a:cubicBezTo>
                  <a:lnTo>
                    <a:pt x="608" y="79"/>
                  </a:lnTo>
                  <a:cubicBezTo>
                    <a:pt x="608" y="87"/>
                    <a:pt x="611" y="92"/>
                    <a:pt x="615" y="96"/>
                  </a:cubicBezTo>
                  <a:cubicBezTo>
                    <a:pt x="619" y="100"/>
                    <a:pt x="624" y="101"/>
                    <a:pt x="630" y="101"/>
                  </a:cubicBezTo>
                  <a:cubicBezTo>
                    <a:pt x="634" y="101"/>
                    <a:pt x="637" y="101"/>
                    <a:pt x="640" y="100"/>
                  </a:cubicBezTo>
                  <a:cubicBezTo>
                    <a:pt x="643" y="99"/>
                    <a:pt x="646" y="98"/>
                    <a:pt x="649" y="96"/>
                  </a:cubicBezTo>
                  <a:lnTo>
                    <a:pt x="655" y="107"/>
                  </a:lnTo>
                  <a:cubicBezTo>
                    <a:pt x="651" y="110"/>
                    <a:pt x="647" y="112"/>
                    <a:pt x="642" y="113"/>
                  </a:cubicBezTo>
                  <a:cubicBezTo>
                    <a:pt x="638" y="115"/>
                    <a:pt x="633" y="116"/>
                    <a:pt x="628" y="116"/>
                  </a:cubicBezTo>
                  <a:cubicBezTo>
                    <a:pt x="623" y="116"/>
                    <a:pt x="618" y="115"/>
                    <a:pt x="613" y="113"/>
                  </a:cubicBezTo>
                  <a:cubicBezTo>
                    <a:pt x="608" y="111"/>
                    <a:pt x="604" y="108"/>
                    <a:pt x="601" y="105"/>
                  </a:cubicBezTo>
                  <a:cubicBezTo>
                    <a:pt x="597" y="101"/>
                    <a:pt x="595" y="97"/>
                    <a:pt x="593" y="92"/>
                  </a:cubicBezTo>
                  <a:cubicBezTo>
                    <a:pt x="591" y="87"/>
                    <a:pt x="590" y="81"/>
                    <a:pt x="590" y="75"/>
                  </a:cubicBezTo>
                  <a:close/>
                  <a:moveTo>
                    <a:pt x="527" y="93"/>
                  </a:moveTo>
                  <a:cubicBezTo>
                    <a:pt x="531" y="96"/>
                    <a:pt x="534" y="98"/>
                    <a:pt x="538" y="100"/>
                  </a:cubicBezTo>
                  <a:cubicBezTo>
                    <a:pt x="541" y="101"/>
                    <a:pt x="545" y="102"/>
                    <a:pt x="549" y="102"/>
                  </a:cubicBezTo>
                  <a:cubicBezTo>
                    <a:pt x="553" y="102"/>
                    <a:pt x="556" y="101"/>
                    <a:pt x="558" y="99"/>
                  </a:cubicBezTo>
                  <a:cubicBezTo>
                    <a:pt x="560" y="97"/>
                    <a:pt x="561" y="95"/>
                    <a:pt x="561" y="92"/>
                  </a:cubicBezTo>
                  <a:cubicBezTo>
                    <a:pt x="561" y="91"/>
                    <a:pt x="561" y="89"/>
                    <a:pt x="560" y="88"/>
                  </a:cubicBezTo>
                  <a:cubicBezTo>
                    <a:pt x="559" y="87"/>
                    <a:pt x="558" y="86"/>
                    <a:pt x="556" y="85"/>
                  </a:cubicBezTo>
                  <a:cubicBezTo>
                    <a:pt x="554" y="84"/>
                    <a:pt x="553" y="83"/>
                    <a:pt x="551" y="82"/>
                  </a:cubicBezTo>
                  <a:cubicBezTo>
                    <a:pt x="549" y="82"/>
                    <a:pt x="547" y="81"/>
                    <a:pt x="545" y="80"/>
                  </a:cubicBezTo>
                  <a:cubicBezTo>
                    <a:pt x="542" y="79"/>
                    <a:pt x="540" y="78"/>
                    <a:pt x="537" y="77"/>
                  </a:cubicBezTo>
                  <a:cubicBezTo>
                    <a:pt x="534" y="75"/>
                    <a:pt x="532" y="74"/>
                    <a:pt x="530" y="72"/>
                  </a:cubicBezTo>
                  <a:cubicBezTo>
                    <a:pt x="528" y="70"/>
                    <a:pt x="526" y="68"/>
                    <a:pt x="525" y="66"/>
                  </a:cubicBezTo>
                  <a:cubicBezTo>
                    <a:pt x="523" y="63"/>
                    <a:pt x="523" y="61"/>
                    <a:pt x="523" y="57"/>
                  </a:cubicBezTo>
                  <a:cubicBezTo>
                    <a:pt x="523" y="50"/>
                    <a:pt x="525" y="45"/>
                    <a:pt x="530" y="41"/>
                  </a:cubicBezTo>
                  <a:cubicBezTo>
                    <a:pt x="535" y="36"/>
                    <a:pt x="542" y="34"/>
                    <a:pt x="551" y="34"/>
                  </a:cubicBezTo>
                  <a:cubicBezTo>
                    <a:pt x="557" y="34"/>
                    <a:pt x="561" y="35"/>
                    <a:pt x="566" y="37"/>
                  </a:cubicBezTo>
                  <a:cubicBezTo>
                    <a:pt x="570" y="39"/>
                    <a:pt x="574" y="41"/>
                    <a:pt x="577" y="43"/>
                  </a:cubicBezTo>
                  <a:lnTo>
                    <a:pt x="569" y="54"/>
                  </a:lnTo>
                  <a:cubicBezTo>
                    <a:pt x="566" y="52"/>
                    <a:pt x="563" y="51"/>
                    <a:pt x="560" y="50"/>
                  </a:cubicBezTo>
                  <a:cubicBezTo>
                    <a:pt x="557" y="48"/>
                    <a:pt x="555" y="48"/>
                    <a:pt x="551" y="48"/>
                  </a:cubicBezTo>
                  <a:cubicBezTo>
                    <a:pt x="548" y="48"/>
                    <a:pt x="545" y="49"/>
                    <a:pt x="543" y="50"/>
                  </a:cubicBezTo>
                  <a:cubicBezTo>
                    <a:pt x="541" y="52"/>
                    <a:pt x="540" y="54"/>
                    <a:pt x="540" y="56"/>
                  </a:cubicBezTo>
                  <a:cubicBezTo>
                    <a:pt x="540" y="58"/>
                    <a:pt x="541" y="59"/>
                    <a:pt x="541" y="60"/>
                  </a:cubicBezTo>
                  <a:cubicBezTo>
                    <a:pt x="542" y="62"/>
                    <a:pt x="543" y="63"/>
                    <a:pt x="545" y="63"/>
                  </a:cubicBezTo>
                  <a:cubicBezTo>
                    <a:pt x="546" y="64"/>
                    <a:pt x="548" y="65"/>
                    <a:pt x="550" y="66"/>
                  </a:cubicBezTo>
                  <a:cubicBezTo>
                    <a:pt x="552" y="66"/>
                    <a:pt x="554" y="67"/>
                    <a:pt x="556" y="68"/>
                  </a:cubicBezTo>
                  <a:cubicBezTo>
                    <a:pt x="559" y="69"/>
                    <a:pt x="561" y="70"/>
                    <a:pt x="564" y="71"/>
                  </a:cubicBezTo>
                  <a:cubicBezTo>
                    <a:pt x="567" y="72"/>
                    <a:pt x="569" y="74"/>
                    <a:pt x="571" y="76"/>
                  </a:cubicBezTo>
                  <a:cubicBezTo>
                    <a:pt x="574" y="77"/>
                    <a:pt x="575" y="80"/>
                    <a:pt x="577" y="82"/>
                  </a:cubicBezTo>
                  <a:cubicBezTo>
                    <a:pt x="578" y="85"/>
                    <a:pt x="579" y="88"/>
                    <a:pt x="579" y="92"/>
                  </a:cubicBezTo>
                  <a:cubicBezTo>
                    <a:pt x="579" y="95"/>
                    <a:pt x="578" y="98"/>
                    <a:pt x="577" y="101"/>
                  </a:cubicBezTo>
                  <a:cubicBezTo>
                    <a:pt x="575" y="104"/>
                    <a:pt x="573" y="106"/>
                    <a:pt x="571" y="109"/>
                  </a:cubicBezTo>
                  <a:cubicBezTo>
                    <a:pt x="568" y="111"/>
                    <a:pt x="565" y="112"/>
                    <a:pt x="561" y="114"/>
                  </a:cubicBezTo>
                  <a:cubicBezTo>
                    <a:pt x="557" y="115"/>
                    <a:pt x="553" y="116"/>
                    <a:pt x="548" y="116"/>
                  </a:cubicBezTo>
                  <a:cubicBezTo>
                    <a:pt x="543" y="116"/>
                    <a:pt x="538" y="115"/>
                    <a:pt x="532" y="113"/>
                  </a:cubicBezTo>
                  <a:cubicBezTo>
                    <a:pt x="527" y="110"/>
                    <a:pt x="523" y="108"/>
                    <a:pt x="519" y="105"/>
                  </a:cubicBezTo>
                  <a:lnTo>
                    <a:pt x="527" y="93"/>
                  </a:lnTo>
                  <a:close/>
                  <a:moveTo>
                    <a:pt x="459" y="93"/>
                  </a:moveTo>
                  <a:cubicBezTo>
                    <a:pt x="463" y="96"/>
                    <a:pt x="466" y="98"/>
                    <a:pt x="470" y="100"/>
                  </a:cubicBezTo>
                  <a:cubicBezTo>
                    <a:pt x="473" y="101"/>
                    <a:pt x="477" y="102"/>
                    <a:pt x="481" y="102"/>
                  </a:cubicBezTo>
                  <a:cubicBezTo>
                    <a:pt x="485" y="102"/>
                    <a:pt x="488" y="101"/>
                    <a:pt x="490" y="99"/>
                  </a:cubicBezTo>
                  <a:cubicBezTo>
                    <a:pt x="492" y="97"/>
                    <a:pt x="493" y="95"/>
                    <a:pt x="493" y="92"/>
                  </a:cubicBezTo>
                  <a:cubicBezTo>
                    <a:pt x="493" y="91"/>
                    <a:pt x="493" y="89"/>
                    <a:pt x="492" y="88"/>
                  </a:cubicBezTo>
                  <a:cubicBezTo>
                    <a:pt x="491" y="87"/>
                    <a:pt x="489" y="86"/>
                    <a:pt x="488" y="85"/>
                  </a:cubicBezTo>
                  <a:cubicBezTo>
                    <a:pt x="486" y="84"/>
                    <a:pt x="484" y="83"/>
                    <a:pt x="482" y="82"/>
                  </a:cubicBezTo>
                  <a:cubicBezTo>
                    <a:pt x="480" y="82"/>
                    <a:pt x="478" y="81"/>
                    <a:pt x="476" y="80"/>
                  </a:cubicBezTo>
                  <a:cubicBezTo>
                    <a:pt x="474" y="79"/>
                    <a:pt x="471" y="78"/>
                    <a:pt x="469" y="77"/>
                  </a:cubicBezTo>
                  <a:cubicBezTo>
                    <a:pt x="466" y="75"/>
                    <a:pt x="464" y="74"/>
                    <a:pt x="462" y="72"/>
                  </a:cubicBezTo>
                  <a:cubicBezTo>
                    <a:pt x="460" y="70"/>
                    <a:pt x="458" y="68"/>
                    <a:pt x="457" y="66"/>
                  </a:cubicBezTo>
                  <a:cubicBezTo>
                    <a:pt x="455" y="63"/>
                    <a:pt x="455" y="61"/>
                    <a:pt x="455" y="57"/>
                  </a:cubicBezTo>
                  <a:cubicBezTo>
                    <a:pt x="455" y="50"/>
                    <a:pt x="457" y="45"/>
                    <a:pt x="462" y="41"/>
                  </a:cubicBezTo>
                  <a:cubicBezTo>
                    <a:pt x="467" y="36"/>
                    <a:pt x="474" y="34"/>
                    <a:pt x="483" y="34"/>
                  </a:cubicBezTo>
                  <a:cubicBezTo>
                    <a:pt x="488" y="34"/>
                    <a:pt x="493" y="35"/>
                    <a:pt x="497" y="37"/>
                  </a:cubicBezTo>
                  <a:cubicBezTo>
                    <a:pt x="502" y="39"/>
                    <a:pt x="506" y="41"/>
                    <a:pt x="509" y="43"/>
                  </a:cubicBezTo>
                  <a:lnTo>
                    <a:pt x="500" y="54"/>
                  </a:lnTo>
                  <a:cubicBezTo>
                    <a:pt x="498" y="52"/>
                    <a:pt x="495" y="51"/>
                    <a:pt x="492" y="50"/>
                  </a:cubicBezTo>
                  <a:cubicBezTo>
                    <a:pt x="489" y="48"/>
                    <a:pt x="486" y="48"/>
                    <a:pt x="483" y="48"/>
                  </a:cubicBezTo>
                  <a:cubicBezTo>
                    <a:pt x="479" y="48"/>
                    <a:pt x="476" y="49"/>
                    <a:pt x="475" y="50"/>
                  </a:cubicBezTo>
                  <a:cubicBezTo>
                    <a:pt x="473" y="52"/>
                    <a:pt x="472" y="54"/>
                    <a:pt x="472" y="56"/>
                  </a:cubicBezTo>
                  <a:cubicBezTo>
                    <a:pt x="472" y="58"/>
                    <a:pt x="472" y="59"/>
                    <a:pt x="473" y="60"/>
                  </a:cubicBezTo>
                  <a:cubicBezTo>
                    <a:pt x="474" y="62"/>
                    <a:pt x="475" y="63"/>
                    <a:pt x="477" y="63"/>
                  </a:cubicBezTo>
                  <a:cubicBezTo>
                    <a:pt x="478" y="64"/>
                    <a:pt x="480" y="65"/>
                    <a:pt x="482" y="66"/>
                  </a:cubicBezTo>
                  <a:cubicBezTo>
                    <a:pt x="484" y="66"/>
                    <a:pt x="486" y="67"/>
                    <a:pt x="488" y="68"/>
                  </a:cubicBezTo>
                  <a:cubicBezTo>
                    <a:pt x="491" y="69"/>
                    <a:pt x="493" y="70"/>
                    <a:pt x="496" y="71"/>
                  </a:cubicBezTo>
                  <a:cubicBezTo>
                    <a:pt x="499" y="72"/>
                    <a:pt x="501" y="74"/>
                    <a:pt x="503" y="76"/>
                  </a:cubicBezTo>
                  <a:cubicBezTo>
                    <a:pt x="505" y="77"/>
                    <a:pt x="507" y="80"/>
                    <a:pt x="508" y="82"/>
                  </a:cubicBezTo>
                  <a:cubicBezTo>
                    <a:pt x="510" y="85"/>
                    <a:pt x="510" y="88"/>
                    <a:pt x="510" y="92"/>
                  </a:cubicBezTo>
                  <a:cubicBezTo>
                    <a:pt x="510" y="95"/>
                    <a:pt x="510" y="98"/>
                    <a:pt x="508" y="101"/>
                  </a:cubicBezTo>
                  <a:cubicBezTo>
                    <a:pt x="507" y="104"/>
                    <a:pt x="505" y="106"/>
                    <a:pt x="503" y="109"/>
                  </a:cubicBezTo>
                  <a:cubicBezTo>
                    <a:pt x="500" y="111"/>
                    <a:pt x="497" y="112"/>
                    <a:pt x="493" y="114"/>
                  </a:cubicBezTo>
                  <a:cubicBezTo>
                    <a:pt x="489" y="115"/>
                    <a:pt x="485" y="116"/>
                    <a:pt x="480" y="116"/>
                  </a:cubicBezTo>
                  <a:cubicBezTo>
                    <a:pt x="475" y="116"/>
                    <a:pt x="469" y="115"/>
                    <a:pt x="464" y="113"/>
                  </a:cubicBezTo>
                  <a:cubicBezTo>
                    <a:pt x="459" y="110"/>
                    <a:pt x="454" y="108"/>
                    <a:pt x="451" y="105"/>
                  </a:cubicBezTo>
                  <a:lnTo>
                    <a:pt x="459" y="93"/>
                  </a:lnTo>
                  <a:close/>
                  <a:moveTo>
                    <a:pt x="390" y="91"/>
                  </a:moveTo>
                  <a:cubicBezTo>
                    <a:pt x="390" y="95"/>
                    <a:pt x="391" y="97"/>
                    <a:pt x="393" y="99"/>
                  </a:cubicBezTo>
                  <a:cubicBezTo>
                    <a:pt x="395" y="101"/>
                    <a:pt x="398" y="101"/>
                    <a:pt x="401" y="101"/>
                  </a:cubicBezTo>
                  <a:cubicBezTo>
                    <a:pt x="404" y="101"/>
                    <a:pt x="407" y="101"/>
                    <a:pt x="410" y="99"/>
                  </a:cubicBezTo>
                  <a:cubicBezTo>
                    <a:pt x="412" y="98"/>
                    <a:pt x="415" y="96"/>
                    <a:pt x="418" y="93"/>
                  </a:cubicBezTo>
                  <a:lnTo>
                    <a:pt x="418" y="75"/>
                  </a:lnTo>
                  <a:cubicBezTo>
                    <a:pt x="413" y="76"/>
                    <a:pt x="408" y="77"/>
                    <a:pt x="405" y="78"/>
                  </a:cubicBezTo>
                  <a:cubicBezTo>
                    <a:pt x="401" y="79"/>
                    <a:pt x="398" y="80"/>
                    <a:pt x="396" y="81"/>
                  </a:cubicBezTo>
                  <a:cubicBezTo>
                    <a:pt x="394" y="83"/>
                    <a:pt x="392" y="84"/>
                    <a:pt x="391" y="86"/>
                  </a:cubicBezTo>
                  <a:cubicBezTo>
                    <a:pt x="390" y="88"/>
                    <a:pt x="390" y="89"/>
                    <a:pt x="390" y="91"/>
                  </a:cubicBezTo>
                  <a:close/>
                  <a:moveTo>
                    <a:pt x="372" y="93"/>
                  </a:moveTo>
                  <a:cubicBezTo>
                    <a:pt x="372" y="84"/>
                    <a:pt x="376" y="78"/>
                    <a:pt x="383" y="73"/>
                  </a:cubicBezTo>
                  <a:cubicBezTo>
                    <a:pt x="390" y="69"/>
                    <a:pt x="402" y="66"/>
                    <a:pt x="418" y="64"/>
                  </a:cubicBezTo>
                  <a:cubicBezTo>
                    <a:pt x="418" y="62"/>
                    <a:pt x="418" y="60"/>
                    <a:pt x="417" y="58"/>
                  </a:cubicBezTo>
                  <a:cubicBezTo>
                    <a:pt x="417" y="56"/>
                    <a:pt x="416" y="55"/>
                    <a:pt x="415" y="53"/>
                  </a:cubicBezTo>
                  <a:cubicBezTo>
                    <a:pt x="414" y="52"/>
                    <a:pt x="412" y="51"/>
                    <a:pt x="410" y="50"/>
                  </a:cubicBezTo>
                  <a:cubicBezTo>
                    <a:pt x="409" y="49"/>
                    <a:pt x="407" y="49"/>
                    <a:pt x="404" y="49"/>
                  </a:cubicBezTo>
                  <a:cubicBezTo>
                    <a:pt x="400" y="49"/>
                    <a:pt x="396" y="50"/>
                    <a:pt x="393" y="51"/>
                  </a:cubicBezTo>
                  <a:cubicBezTo>
                    <a:pt x="389" y="52"/>
                    <a:pt x="385" y="54"/>
                    <a:pt x="382" y="56"/>
                  </a:cubicBezTo>
                  <a:lnTo>
                    <a:pt x="375" y="44"/>
                  </a:lnTo>
                  <a:cubicBezTo>
                    <a:pt x="380" y="41"/>
                    <a:pt x="385" y="39"/>
                    <a:pt x="390" y="37"/>
                  </a:cubicBezTo>
                  <a:cubicBezTo>
                    <a:pt x="395" y="35"/>
                    <a:pt x="401" y="34"/>
                    <a:pt x="407" y="34"/>
                  </a:cubicBezTo>
                  <a:cubicBezTo>
                    <a:pt x="417" y="34"/>
                    <a:pt x="424" y="37"/>
                    <a:pt x="429" y="43"/>
                  </a:cubicBezTo>
                  <a:cubicBezTo>
                    <a:pt x="434" y="48"/>
                    <a:pt x="436" y="57"/>
                    <a:pt x="436" y="68"/>
                  </a:cubicBezTo>
                  <a:lnTo>
                    <a:pt x="436" y="114"/>
                  </a:lnTo>
                  <a:lnTo>
                    <a:pt x="421" y="114"/>
                  </a:lnTo>
                  <a:lnTo>
                    <a:pt x="420" y="105"/>
                  </a:lnTo>
                  <a:lnTo>
                    <a:pt x="419" y="105"/>
                  </a:lnTo>
                  <a:cubicBezTo>
                    <a:pt x="416" y="108"/>
                    <a:pt x="412" y="111"/>
                    <a:pt x="408" y="113"/>
                  </a:cubicBezTo>
                  <a:cubicBezTo>
                    <a:pt x="404" y="115"/>
                    <a:pt x="400" y="116"/>
                    <a:pt x="395" y="116"/>
                  </a:cubicBezTo>
                  <a:cubicBezTo>
                    <a:pt x="388" y="116"/>
                    <a:pt x="383" y="114"/>
                    <a:pt x="379" y="109"/>
                  </a:cubicBezTo>
                  <a:cubicBezTo>
                    <a:pt x="374" y="105"/>
                    <a:pt x="372" y="100"/>
                    <a:pt x="372" y="93"/>
                  </a:cubicBezTo>
                  <a:close/>
                  <a:moveTo>
                    <a:pt x="242" y="10"/>
                  </a:moveTo>
                  <a:lnTo>
                    <a:pt x="261" y="10"/>
                  </a:lnTo>
                  <a:lnTo>
                    <a:pt x="270" y="62"/>
                  </a:lnTo>
                  <a:cubicBezTo>
                    <a:pt x="271" y="68"/>
                    <a:pt x="272" y="74"/>
                    <a:pt x="273" y="79"/>
                  </a:cubicBezTo>
                  <a:cubicBezTo>
                    <a:pt x="274" y="85"/>
                    <a:pt x="274" y="90"/>
                    <a:pt x="275" y="95"/>
                  </a:cubicBezTo>
                  <a:lnTo>
                    <a:pt x="276" y="95"/>
                  </a:lnTo>
                  <a:cubicBezTo>
                    <a:pt x="277" y="90"/>
                    <a:pt x="278" y="84"/>
                    <a:pt x="279" y="79"/>
                  </a:cubicBezTo>
                  <a:cubicBezTo>
                    <a:pt x="280" y="73"/>
                    <a:pt x="282" y="68"/>
                    <a:pt x="283" y="62"/>
                  </a:cubicBezTo>
                  <a:lnTo>
                    <a:pt x="295" y="10"/>
                  </a:lnTo>
                  <a:lnTo>
                    <a:pt x="311" y="10"/>
                  </a:lnTo>
                  <a:lnTo>
                    <a:pt x="324" y="62"/>
                  </a:lnTo>
                  <a:cubicBezTo>
                    <a:pt x="325" y="68"/>
                    <a:pt x="326" y="73"/>
                    <a:pt x="328" y="79"/>
                  </a:cubicBezTo>
                  <a:cubicBezTo>
                    <a:pt x="329" y="84"/>
                    <a:pt x="330" y="90"/>
                    <a:pt x="331" y="95"/>
                  </a:cubicBezTo>
                  <a:lnTo>
                    <a:pt x="332" y="95"/>
                  </a:lnTo>
                  <a:cubicBezTo>
                    <a:pt x="333" y="90"/>
                    <a:pt x="333" y="84"/>
                    <a:pt x="334" y="79"/>
                  </a:cubicBezTo>
                  <a:cubicBezTo>
                    <a:pt x="335" y="73"/>
                    <a:pt x="336" y="68"/>
                    <a:pt x="337" y="62"/>
                  </a:cubicBezTo>
                  <a:lnTo>
                    <a:pt x="346" y="10"/>
                  </a:lnTo>
                  <a:lnTo>
                    <a:pt x="363" y="10"/>
                  </a:lnTo>
                  <a:lnTo>
                    <a:pt x="343" y="114"/>
                  </a:lnTo>
                  <a:lnTo>
                    <a:pt x="321" y="114"/>
                  </a:lnTo>
                  <a:lnTo>
                    <a:pt x="308" y="59"/>
                  </a:lnTo>
                  <a:cubicBezTo>
                    <a:pt x="307" y="55"/>
                    <a:pt x="306" y="51"/>
                    <a:pt x="305" y="47"/>
                  </a:cubicBezTo>
                  <a:cubicBezTo>
                    <a:pt x="305" y="43"/>
                    <a:pt x="304" y="39"/>
                    <a:pt x="303" y="35"/>
                  </a:cubicBezTo>
                  <a:lnTo>
                    <a:pt x="303" y="35"/>
                  </a:lnTo>
                  <a:cubicBezTo>
                    <a:pt x="302" y="39"/>
                    <a:pt x="301" y="43"/>
                    <a:pt x="300" y="47"/>
                  </a:cubicBezTo>
                  <a:cubicBezTo>
                    <a:pt x="299" y="51"/>
                    <a:pt x="299" y="55"/>
                    <a:pt x="298" y="59"/>
                  </a:cubicBezTo>
                  <a:lnTo>
                    <a:pt x="285" y="114"/>
                  </a:lnTo>
                  <a:lnTo>
                    <a:pt x="263" y="114"/>
                  </a:lnTo>
                  <a:lnTo>
                    <a:pt x="242" y="10"/>
                  </a:lnTo>
                  <a:close/>
                  <a:moveTo>
                    <a:pt x="185" y="68"/>
                  </a:moveTo>
                  <a:cubicBezTo>
                    <a:pt x="185" y="62"/>
                    <a:pt x="184" y="57"/>
                    <a:pt x="182" y="53"/>
                  </a:cubicBezTo>
                  <a:cubicBezTo>
                    <a:pt x="179" y="50"/>
                    <a:pt x="175" y="48"/>
                    <a:pt x="170" y="48"/>
                  </a:cubicBezTo>
                  <a:cubicBezTo>
                    <a:pt x="165" y="48"/>
                    <a:pt x="161" y="50"/>
                    <a:pt x="157" y="53"/>
                  </a:cubicBezTo>
                  <a:cubicBezTo>
                    <a:pt x="154" y="56"/>
                    <a:pt x="152" y="61"/>
                    <a:pt x="151" y="68"/>
                  </a:cubicBezTo>
                  <a:lnTo>
                    <a:pt x="185" y="68"/>
                  </a:lnTo>
                  <a:close/>
                  <a:moveTo>
                    <a:pt x="133" y="75"/>
                  </a:moveTo>
                  <a:cubicBezTo>
                    <a:pt x="133" y="69"/>
                    <a:pt x="134" y="63"/>
                    <a:pt x="136" y="58"/>
                  </a:cubicBezTo>
                  <a:cubicBezTo>
                    <a:pt x="138" y="53"/>
                    <a:pt x="141" y="48"/>
                    <a:pt x="144" y="45"/>
                  </a:cubicBezTo>
                  <a:cubicBezTo>
                    <a:pt x="148" y="41"/>
                    <a:pt x="151" y="39"/>
                    <a:pt x="156" y="37"/>
                  </a:cubicBezTo>
                  <a:cubicBezTo>
                    <a:pt x="160" y="35"/>
                    <a:pt x="165" y="34"/>
                    <a:pt x="169" y="34"/>
                  </a:cubicBezTo>
                  <a:cubicBezTo>
                    <a:pt x="174" y="34"/>
                    <a:pt x="179" y="35"/>
                    <a:pt x="183" y="37"/>
                  </a:cubicBezTo>
                  <a:cubicBezTo>
                    <a:pt x="187" y="39"/>
                    <a:pt x="190" y="41"/>
                    <a:pt x="193" y="44"/>
                  </a:cubicBezTo>
                  <a:cubicBezTo>
                    <a:pt x="196" y="48"/>
                    <a:pt x="198" y="52"/>
                    <a:pt x="199" y="56"/>
                  </a:cubicBezTo>
                  <a:cubicBezTo>
                    <a:pt x="201" y="61"/>
                    <a:pt x="201" y="66"/>
                    <a:pt x="201" y="71"/>
                  </a:cubicBezTo>
                  <a:cubicBezTo>
                    <a:pt x="201" y="75"/>
                    <a:pt x="201" y="77"/>
                    <a:pt x="200" y="79"/>
                  </a:cubicBezTo>
                  <a:lnTo>
                    <a:pt x="151" y="79"/>
                  </a:lnTo>
                  <a:cubicBezTo>
                    <a:pt x="152" y="87"/>
                    <a:pt x="154" y="92"/>
                    <a:pt x="158" y="96"/>
                  </a:cubicBezTo>
                  <a:cubicBezTo>
                    <a:pt x="162" y="100"/>
                    <a:pt x="168" y="101"/>
                    <a:pt x="174" y="101"/>
                  </a:cubicBezTo>
                  <a:cubicBezTo>
                    <a:pt x="177" y="101"/>
                    <a:pt x="181" y="101"/>
                    <a:pt x="183" y="100"/>
                  </a:cubicBezTo>
                  <a:cubicBezTo>
                    <a:pt x="186" y="99"/>
                    <a:pt x="189" y="98"/>
                    <a:pt x="192" y="96"/>
                  </a:cubicBezTo>
                  <a:lnTo>
                    <a:pt x="198" y="107"/>
                  </a:lnTo>
                  <a:cubicBezTo>
                    <a:pt x="195" y="110"/>
                    <a:pt x="190" y="112"/>
                    <a:pt x="186" y="113"/>
                  </a:cubicBezTo>
                  <a:cubicBezTo>
                    <a:pt x="181" y="115"/>
                    <a:pt x="177" y="116"/>
                    <a:pt x="172" y="116"/>
                  </a:cubicBezTo>
                  <a:cubicBezTo>
                    <a:pt x="166" y="116"/>
                    <a:pt x="161" y="115"/>
                    <a:pt x="157" y="113"/>
                  </a:cubicBezTo>
                  <a:cubicBezTo>
                    <a:pt x="152" y="111"/>
                    <a:pt x="148" y="108"/>
                    <a:pt x="144" y="105"/>
                  </a:cubicBezTo>
                  <a:cubicBezTo>
                    <a:pt x="141" y="101"/>
                    <a:pt x="138" y="97"/>
                    <a:pt x="136" y="92"/>
                  </a:cubicBezTo>
                  <a:cubicBezTo>
                    <a:pt x="134" y="87"/>
                    <a:pt x="133" y="81"/>
                    <a:pt x="133" y="75"/>
                  </a:cubicBezTo>
                  <a:close/>
                  <a:moveTo>
                    <a:pt x="97" y="36"/>
                  </a:moveTo>
                  <a:lnTo>
                    <a:pt x="115" y="36"/>
                  </a:lnTo>
                  <a:lnTo>
                    <a:pt x="115" y="114"/>
                  </a:lnTo>
                  <a:lnTo>
                    <a:pt x="97" y="114"/>
                  </a:lnTo>
                  <a:lnTo>
                    <a:pt x="97" y="36"/>
                  </a:lnTo>
                  <a:close/>
                  <a:moveTo>
                    <a:pt x="106" y="22"/>
                  </a:moveTo>
                  <a:cubicBezTo>
                    <a:pt x="103" y="22"/>
                    <a:pt x="100" y="21"/>
                    <a:pt x="98" y="19"/>
                  </a:cubicBezTo>
                  <a:cubicBezTo>
                    <a:pt x="96" y="18"/>
                    <a:pt x="95" y="15"/>
                    <a:pt x="95" y="12"/>
                  </a:cubicBezTo>
                  <a:cubicBezTo>
                    <a:pt x="95" y="9"/>
                    <a:pt x="96" y="6"/>
                    <a:pt x="98" y="5"/>
                  </a:cubicBezTo>
                  <a:cubicBezTo>
                    <a:pt x="100" y="3"/>
                    <a:pt x="103" y="2"/>
                    <a:pt x="106" y="2"/>
                  </a:cubicBezTo>
                  <a:cubicBezTo>
                    <a:pt x="109" y="2"/>
                    <a:pt x="112" y="3"/>
                    <a:pt x="114" y="5"/>
                  </a:cubicBezTo>
                  <a:cubicBezTo>
                    <a:pt x="116" y="6"/>
                    <a:pt x="117" y="9"/>
                    <a:pt x="117" y="12"/>
                  </a:cubicBezTo>
                  <a:cubicBezTo>
                    <a:pt x="117" y="15"/>
                    <a:pt x="116" y="18"/>
                    <a:pt x="114" y="19"/>
                  </a:cubicBezTo>
                  <a:cubicBezTo>
                    <a:pt x="112" y="21"/>
                    <a:pt x="109" y="22"/>
                    <a:pt x="106" y="22"/>
                  </a:cubicBezTo>
                  <a:close/>
                  <a:moveTo>
                    <a:pt x="26" y="99"/>
                  </a:moveTo>
                  <a:cubicBezTo>
                    <a:pt x="37" y="99"/>
                    <a:pt x="45" y="96"/>
                    <a:pt x="50" y="90"/>
                  </a:cubicBezTo>
                  <a:cubicBezTo>
                    <a:pt x="56" y="84"/>
                    <a:pt x="59" y="74"/>
                    <a:pt x="59" y="61"/>
                  </a:cubicBezTo>
                  <a:cubicBezTo>
                    <a:pt x="59" y="49"/>
                    <a:pt x="56" y="40"/>
                    <a:pt x="50" y="34"/>
                  </a:cubicBezTo>
                  <a:cubicBezTo>
                    <a:pt x="44" y="28"/>
                    <a:pt x="36" y="25"/>
                    <a:pt x="26" y="25"/>
                  </a:cubicBezTo>
                  <a:lnTo>
                    <a:pt x="18" y="25"/>
                  </a:lnTo>
                  <a:lnTo>
                    <a:pt x="18" y="99"/>
                  </a:lnTo>
                  <a:lnTo>
                    <a:pt x="26" y="99"/>
                  </a:lnTo>
                  <a:close/>
                  <a:moveTo>
                    <a:pt x="0" y="10"/>
                  </a:moveTo>
                  <a:lnTo>
                    <a:pt x="27" y="10"/>
                  </a:lnTo>
                  <a:cubicBezTo>
                    <a:pt x="43" y="10"/>
                    <a:pt x="55" y="14"/>
                    <a:pt x="64" y="23"/>
                  </a:cubicBezTo>
                  <a:cubicBezTo>
                    <a:pt x="73" y="32"/>
                    <a:pt x="78" y="44"/>
                    <a:pt x="78" y="61"/>
                  </a:cubicBezTo>
                  <a:cubicBezTo>
                    <a:pt x="78" y="70"/>
                    <a:pt x="76" y="78"/>
                    <a:pt x="74" y="84"/>
                  </a:cubicBezTo>
                  <a:cubicBezTo>
                    <a:pt x="72" y="91"/>
                    <a:pt x="69" y="96"/>
                    <a:pt x="64" y="100"/>
                  </a:cubicBezTo>
                  <a:cubicBezTo>
                    <a:pt x="60" y="105"/>
                    <a:pt x="55" y="108"/>
                    <a:pt x="49" y="110"/>
                  </a:cubicBezTo>
                  <a:cubicBezTo>
                    <a:pt x="43" y="113"/>
                    <a:pt x="36" y="114"/>
                    <a:pt x="28" y="114"/>
                  </a:cubicBezTo>
                  <a:lnTo>
                    <a:pt x="0" y="114"/>
                  </a:lnTo>
                  <a:lnTo>
                    <a:pt x="0" y="1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66">
              <a:extLst>
                <a:ext uri="{FF2B5EF4-FFF2-40B4-BE49-F238E27FC236}">
                  <a16:creationId xmlns:a16="http://schemas.microsoft.com/office/drawing/2014/main" id="{CB267B26-B516-4167-8665-070047879C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1165" y="2208066"/>
              <a:ext cx="17499" cy="89084"/>
            </a:xfrm>
            <a:custGeom>
              <a:avLst/>
              <a:gdLst>
                <a:gd name="T0" fmla="*/ 2 w 22"/>
                <a:gd name="T1" fmla="*/ 34 h 112"/>
                <a:gd name="T2" fmla="*/ 20 w 22"/>
                <a:gd name="T3" fmla="*/ 34 h 112"/>
                <a:gd name="T4" fmla="*/ 20 w 22"/>
                <a:gd name="T5" fmla="*/ 112 h 112"/>
                <a:gd name="T6" fmla="*/ 2 w 22"/>
                <a:gd name="T7" fmla="*/ 112 h 112"/>
                <a:gd name="T8" fmla="*/ 2 w 22"/>
                <a:gd name="T9" fmla="*/ 34 h 112"/>
                <a:gd name="T10" fmla="*/ 11 w 22"/>
                <a:gd name="T11" fmla="*/ 21 h 112"/>
                <a:gd name="T12" fmla="*/ 3 w 22"/>
                <a:gd name="T13" fmla="*/ 18 h 112"/>
                <a:gd name="T14" fmla="*/ 0 w 22"/>
                <a:gd name="T15" fmla="*/ 10 h 112"/>
                <a:gd name="T16" fmla="*/ 3 w 22"/>
                <a:gd name="T17" fmla="*/ 3 h 112"/>
                <a:gd name="T18" fmla="*/ 11 w 22"/>
                <a:gd name="T19" fmla="*/ 0 h 112"/>
                <a:gd name="T20" fmla="*/ 19 w 22"/>
                <a:gd name="T21" fmla="*/ 3 h 112"/>
                <a:gd name="T22" fmla="*/ 22 w 22"/>
                <a:gd name="T23" fmla="*/ 10 h 112"/>
                <a:gd name="T24" fmla="*/ 19 w 22"/>
                <a:gd name="T25" fmla="*/ 18 h 112"/>
                <a:gd name="T26" fmla="*/ 11 w 22"/>
                <a:gd name="T27" fmla="*/ 2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112">
                  <a:moveTo>
                    <a:pt x="2" y="34"/>
                  </a:moveTo>
                  <a:lnTo>
                    <a:pt x="20" y="34"/>
                  </a:lnTo>
                  <a:lnTo>
                    <a:pt x="20" y="112"/>
                  </a:lnTo>
                  <a:lnTo>
                    <a:pt x="2" y="112"/>
                  </a:lnTo>
                  <a:lnTo>
                    <a:pt x="2" y="34"/>
                  </a:lnTo>
                  <a:close/>
                  <a:moveTo>
                    <a:pt x="11" y="21"/>
                  </a:moveTo>
                  <a:cubicBezTo>
                    <a:pt x="8" y="21"/>
                    <a:pt x="5" y="20"/>
                    <a:pt x="3" y="18"/>
                  </a:cubicBezTo>
                  <a:cubicBezTo>
                    <a:pt x="1" y="16"/>
                    <a:pt x="0" y="13"/>
                    <a:pt x="0" y="10"/>
                  </a:cubicBezTo>
                  <a:cubicBezTo>
                    <a:pt x="0" y="7"/>
                    <a:pt x="1" y="5"/>
                    <a:pt x="3" y="3"/>
                  </a:cubicBezTo>
                  <a:cubicBezTo>
                    <a:pt x="5" y="1"/>
                    <a:pt x="8" y="0"/>
                    <a:pt x="11" y="0"/>
                  </a:cubicBezTo>
                  <a:cubicBezTo>
                    <a:pt x="14" y="0"/>
                    <a:pt x="17" y="1"/>
                    <a:pt x="19" y="3"/>
                  </a:cubicBezTo>
                  <a:cubicBezTo>
                    <a:pt x="21" y="5"/>
                    <a:pt x="22" y="7"/>
                    <a:pt x="22" y="10"/>
                  </a:cubicBezTo>
                  <a:cubicBezTo>
                    <a:pt x="22" y="13"/>
                    <a:pt x="21" y="16"/>
                    <a:pt x="19" y="18"/>
                  </a:cubicBezTo>
                  <a:cubicBezTo>
                    <a:pt x="17" y="20"/>
                    <a:pt x="14" y="21"/>
                    <a:pt x="11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67">
              <a:extLst>
                <a:ext uri="{FF2B5EF4-FFF2-40B4-BE49-F238E27FC236}">
                  <a16:creationId xmlns:a16="http://schemas.microsoft.com/office/drawing/2014/main" id="{270F7A20-61E1-4F49-AF42-024FC2231E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6163" y="2233519"/>
              <a:ext cx="89084" cy="63632"/>
            </a:xfrm>
            <a:custGeom>
              <a:avLst/>
              <a:gdLst>
                <a:gd name="T0" fmla="*/ 0 w 111"/>
                <a:gd name="T1" fmla="*/ 2 h 80"/>
                <a:gd name="T2" fmla="*/ 15 w 111"/>
                <a:gd name="T3" fmla="*/ 2 h 80"/>
                <a:gd name="T4" fmla="*/ 16 w 111"/>
                <a:gd name="T5" fmla="*/ 13 h 80"/>
                <a:gd name="T6" fmla="*/ 17 w 111"/>
                <a:gd name="T7" fmla="*/ 13 h 80"/>
                <a:gd name="T8" fmla="*/ 28 w 111"/>
                <a:gd name="T9" fmla="*/ 4 h 80"/>
                <a:gd name="T10" fmla="*/ 41 w 111"/>
                <a:gd name="T11" fmla="*/ 0 h 80"/>
                <a:gd name="T12" fmla="*/ 54 w 111"/>
                <a:gd name="T13" fmla="*/ 4 h 80"/>
                <a:gd name="T14" fmla="*/ 62 w 111"/>
                <a:gd name="T15" fmla="*/ 14 h 80"/>
                <a:gd name="T16" fmla="*/ 74 w 111"/>
                <a:gd name="T17" fmla="*/ 4 h 80"/>
                <a:gd name="T18" fmla="*/ 87 w 111"/>
                <a:gd name="T19" fmla="*/ 0 h 80"/>
                <a:gd name="T20" fmla="*/ 106 w 111"/>
                <a:gd name="T21" fmla="*/ 8 h 80"/>
                <a:gd name="T22" fmla="*/ 111 w 111"/>
                <a:gd name="T23" fmla="*/ 31 h 80"/>
                <a:gd name="T24" fmla="*/ 111 w 111"/>
                <a:gd name="T25" fmla="*/ 80 h 80"/>
                <a:gd name="T26" fmla="*/ 93 w 111"/>
                <a:gd name="T27" fmla="*/ 80 h 80"/>
                <a:gd name="T28" fmla="*/ 93 w 111"/>
                <a:gd name="T29" fmla="*/ 34 h 80"/>
                <a:gd name="T30" fmla="*/ 90 w 111"/>
                <a:gd name="T31" fmla="*/ 20 h 80"/>
                <a:gd name="T32" fmla="*/ 81 w 111"/>
                <a:gd name="T33" fmla="*/ 16 h 80"/>
                <a:gd name="T34" fmla="*/ 65 w 111"/>
                <a:gd name="T35" fmla="*/ 26 h 80"/>
                <a:gd name="T36" fmla="*/ 65 w 111"/>
                <a:gd name="T37" fmla="*/ 80 h 80"/>
                <a:gd name="T38" fmla="*/ 47 w 111"/>
                <a:gd name="T39" fmla="*/ 80 h 80"/>
                <a:gd name="T40" fmla="*/ 47 w 111"/>
                <a:gd name="T41" fmla="*/ 34 h 80"/>
                <a:gd name="T42" fmla="*/ 44 w 111"/>
                <a:gd name="T43" fmla="*/ 20 h 80"/>
                <a:gd name="T44" fmla="*/ 35 w 111"/>
                <a:gd name="T45" fmla="*/ 16 h 80"/>
                <a:gd name="T46" fmla="*/ 18 w 111"/>
                <a:gd name="T47" fmla="*/ 26 h 80"/>
                <a:gd name="T48" fmla="*/ 18 w 111"/>
                <a:gd name="T49" fmla="*/ 80 h 80"/>
                <a:gd name="T50" fmla="*/ 0 w 111"/>
                <a:gd name="T51" fmla="*/ 80 h 80"/>
                <a:gd name="T52" fmla="*/ 0 w 111"/>
                <a:gd name="T53" fmla="*/ 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1" h="80">
                  <a:moveTo>
                    <a:pt x="0" y="2"/>
                  </a:moveTo>
                  <a:lnTo>
                    <a:pt x="15" y="2"/>
                  </a:lnTo>
                  <a:lnTo>
                    <a:pt x="16" y="13"/>
                  </a:lnTo>
                  <a:lnTo>
                    <a:pt x="17" y="13"/>
                  </a:lnTo>
                  <a:cubicBezTo>
                    <a:pt x="20" y="9"/>
                    <a:pt x="24" y="6"/>
                    <a:pt x="28" y="4"/>
                  </a:cubicBezTo>
                  <a:cubicBezTo>
                    <a:pt x="32" y="2"/>
                    <a:pt x="36" y="0"/>
                    <a:pt x="41" y="0"/>
                  </a:cubicBezTo>
                  <a:cubicBezTo>
                    <a:pt x="46" y="0"/>
                    <a:pt x="51" y="2"/>
                    <a:pt x="54" y="4"/>
                  </a:cubicBezTo>
                  <a:cubicBezTo>
                    <a:pt x="58" y="6"/>
                    <a:pt x="61" y="10"/>
                    <a:pt x="62" y="14"/>
                  </a:cubicBezTo>
                  <a:cubicBezTo>
                    <a:pt x="66" y="10"/>
                    <a:pt x="70" y="7"/>
                    <a:pt x="74" y="4"/>
                  </a:cubicBezTo>
                  <a:cubicBezTo>
                    <a:pt x="78" y="2"/>
                    <a:pt x="82" y="0"/>
                    <a:pt x="87" y="0"/>
                  </a:cubicBezTo>
                  <a:cubicBezTo>
                    <a:pt x="96" y="0"/>
                    <a:pt x="102" y="3"/>
                    <a:pt x="106" y="8"/>
                  </a:cubicBezTo>
                  <a:cubicBezTo>
                    <a:pt x="109" y="14"/>
                    <a:pt x="111" y="21"/>
                    <a:pt x="111" y="31"/>
                  </a:cubicBezTo>
                  <a:lnTo>
                    <a:pt x="111" y="80"/>
                  </a:lnTo>
                  <a:lnTo>
                    <a:pt x="93" y="80"/>
                  </a:lnTo>
                  <a:lnTo>
                    <a:pt x="93" y="34"/>
                  </a:lnTo>
                  <a:cubicBezTo>
                    <a:pt x="93" y="27"/>
                    <a:pt x="92" y="23"/>
                    <a:pt x="90" y="20"/>
                  </a:cubicBezTo>
                  <a:cubicBezTo>
                    <a:pt x="88" y="17"/>
                    <a:pt x="85" y="16"/>
                    <a:pt x="81" y="16"/>
                  </a:cubicBezTo>
                  <a:cubicBezTo>
                    <a:pt x="76" y="16"/>
                    <a:pt x="71" y="19"/>
                    <a:pt x="65" y="26"/>
                  </a:cubicBezTo>
                  <a:lnTo>
                    <a:pt x="65" y="80"/>
                  </a:lnTo>
                  <a:lnTo>
                    <a:pt x="47" y="80"/>
                  </a:lnTo>
                  <a:lnTo>
                    <a:pt x="47" y="34"/>
                  </a:lnTo>
                  <a:cubicBezTo>
                    <a:pt x="47" y="27"/>
                    <a:pt x="46" y="23"/>
                    <a:pt x="44" y="20"/>
                  </a:cubicBezTo>
                  <a:cubicBezTo>
                    <a:pt x="42" y="17"/>
                    <a:pt x="39" y="16"/>
                    <a:pt x="35" y="16"/>
                  </a:cubicBezTo>
                  <a:cubicBezTo>
                    <a:pt x="30" y="16"/>
                    <a:pt x="24" y="19"/>
                    <a:pt x="18" y="26"/>
                  </a:cubicBezTo>
                  <a:lnTo>
                    <a:pt x="18" y="80"/>
                  </a:lnTo>
                  <a:lnTo>
                    <a:pt x="0" y="80"/>
                  </a:lnTo>
                  <a:lnTo>
                    <a:pt x="0" y="2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68">
              <a:extLst>
                <a:ext uri="{FF2B5EF4-FFF2-40B4-BE49-F238E27FC236}">
                  <a16:creationId xmlns:a16="http://schemas.microsoft.com/office/drawing/2014/main" id="{8A493F0A-491C-450B-8D75-655F38E461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9789" y="2214429"/>
              <a:ext cx="60450" cy="82721"/>
            </a:xfrm>
            <a:custGeom>
              <a:avLst/>
              <a:gdLst>
                <a:gd name="T0" fmla="*/ 33 w 75"/>
                <a:gd name="T1" fmla="*/ 90 h 104"/>
                <a:gd name="T2" fmla="*/ 51 w 75"/>
                <a:gd name="T3" fmla="*/ 86 h 104"/>
                <a:gd name="T4" fmla="*/ 57 w 75"/>
                <a:gd name="T5" fmla="*/ 72 h 104"/>
                <a:gd name="T6" fmla="*/ 51 w 75"/>
                <a:gd name="T7" fmla="*/ 60 h 104"/>
                <a:gd name="T8" fmla="*/ 33 w 75"/>
                <a:gd name="T9" fmla="*/ 57 h 104"/>
                <a:gd name="T10" fmla="*/ 18 w 75"/>
                <a:gd name="T11" fmla="*/ 57 h 104"/>
                <a:gd name="T12" fmla="*/ 18 w 75"/>
                <a:gd name="T13" fmla="*/ 90 h 104"/>
                <a:gd name="T14" fmla="*/ 33 w 75"/>
                <a:gd name="T15" fmla="*/ 90 h 104"/>
                <a:gd name="T16" fmla="*/ 31 w 75"/>
                <a:gd name="T17" fmla="*/ 43 h 104"/>
                <a:gd name="T18" fmla="*/ 47 w 75"/>
                <a:gd name="T19" fmla="*/ 39 h 104"/>
                <a:gd name="T20" fmla="*/ 52 w 75"/>
                <a:gd name="T21" fmla="*/ 28 h 104"/>
                <a:gd name="T22" fmla="*/ 47 w 75"/>
                <a:gd name="T23" fmla="*/ 18 h 104"/>
                <a:gd name="T24" fmla="*/ 31 w 75"/>
                <a:gd name="T25" fmla="*/ 15 h 104"/>
                <a:gd name="T26" fmla="*/ 18 w 75"/>
                <a:gd name="T27" fmla="*/ 15 h 104"/>
                <a:gd name="T28" fmla="*/ 18 w 75"/>
                <a:gd name="T29" fmla="*/ 43 h 104"/>
                <a:gd name="T30" fmla="*/ 31 w 75"/>
                <a:gd name="T31" fmla="*/ 43 h 104"/>
                <a:gd name="T32" fmla="*/ 0 w 75"/>
                <a:gd name="T33" fmla="*/ 0 h 104"/>
                <a:gd name="T34" fmla="*/ 33 w 75"/>
                <a:gd name="T35" fmla="*/ 0 h 104"/>
                <a:gd name="T36" fmla="*/ 47 w 75"/>
                <a:gd name="T37" fmla="*/ 2 h 104"/>
                <a:gd name="T38" fmla="*/ 59 w 75"/>
                <a:gd name="T39" fmla="*/ 6 h 104"/>
                <a:gd name="T40" fmla="*/ 67 w 75"/>
                <a:gd name="T41" fmla="*/ 14 h 104"/>
                <a:gd name="T42" fmla="*/ 70 w 75"/>
                <a:gd name="T43" fmla="*/ 26 h 104"/>
                <a:gd name="T44" fmla="*/ 65 w 75"/>
                <a:gd name="T45" fmla="*/ 40 h 104"/>
                <a:gd name="T46" fmla="*/ 52 w 75"/>
                <a:gd name="T47" fmla="*/ 48 h 104"/>
                <a:gd name="T48" fmla="*/ 52 w 75"/>
                <a:gd name="T49" fmla="*/ 49 h 104"/>
                <a:gd name="T50" fmla="*/ 69 w 75"/>
                <a:gd name="T51" fmla="*/ 57 h 104"/>
                <a:gd name="T52" fmla="*/ 75 w 75"/>
                <a:gd name="T53" fmla="*/ 74 h 104"/>
                <a:gd name="T54" fmla="*/ 72 w 75"/>
                <a:gd name="T55" fmla="*/ 87 h 104"/>
                <a:gd name="T56" fmla="*/ 64 w 75"/>
                <a:gd name="T57" fmla="*/ 97 h 104"/>
                <a:gd name="T58" fmla="*/ 51 w 75"/>
                <a:gd name="T59" fmla="*/ 102 h 104"/>
                <a:gd name="T60" fmla="*/ 35 w 75"/>
                <a:gd name="T61" fmla="*/ 104 h 104"/>
                <a:gd name="T62" fmla="*/ 0 w 75"/>
                <a:gd name="T63" fmla="*/ 104 h 104"/>
                <a:gd name="T64" fmla="*/ 0 w 75"/>
                <a:gd name="T6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5" h="104">
                  <a:moveTo>
                    <a:pt x="33" y="90"/>
                  </a:moveTo>
                  <a:cubicBezTo>
                    <a:pt x="41" y="90"/>
                    <a:pt x="47" y="88"/>
                    <a:pt x="51" y="86"/>
                  </a:cubicBezTo>
                  <a:cubicBezTo>
                    <a:pt x="55" y="83"/>
                    <a:pt x="57" y="78"/>
                    <a:pt x="57" y="72"/>
                  </a:cubicBezTo>
                  <a:cubicBezTo>
                    <a:pt x="57" y="67"/>
                    <a:pt x="55" y="63"/>
                    <a:pt x="51" y="60"/>
                  </a:cubicBezTo>
                  <a:cubicBezTo>
                    <a:pt x="47" y="58"/>
                    <a:pt x="41" y="57"/>
                    <a:pt x="33" y="57"/>
                  </a:cubicBezTo>
                  <a:lnTo>
                    <a:pt x="18" y="57"/>
                  </a:lnTo>
                  <a:lnTo>
                    <a:pt x="18" y="90"/>
                  </a:lnTo>
                  <a:lnTo>
                    <a:pt x="33" y="90"/>
                  </a:lnTo>
                  <a:close/>
                  <a:moveTo>
                    <a:pt x="31" y="43"/>
                  </a:moveTo>
                  <a:cubicBezTo>
                    <a:pt x="38" y="43"/>
                    <a:pt x="44" y="42"/>
                    <a:pt x="47" y="39"/>
                  </a:cubicBezTo>
                  <a:cubicBezTo>
                    <a:pt x="50" y="37"/>
                    <a:pt x="52" y="33"/>
                    <a:pt x="52" y="28"/>
                  </a:cubicBezTo>
                  <a:cubicBezTo>
                    <a:pt x="52" y="23"/>
                    <a:pt x="50" y="20"/>
                    <a:pt x="47" y="18"/>
                  </a:cubicBezTo>
                  <a:cubicBezTo>
                    <a:pt x="43" y="16"/>
                    <a:pt x="38" y="15"/>
                    <a:pt x="31" y="15"/>
                  </a:cubicBezTo>
                  <a:lnTo>
                    <a:pt x="18" y="15"/>
                  </a:lnTo>
                  <a:lnTo>
                    <a:pt x="18" y="43"/>
                  </a:lnTo>
                  <a:lnTo>
                    <a:pt x="31" y="43"/>
                  </a:lnTo>
                  <a:close/>
                  <a:moveTo>
                    <a:pt x="0" y="0"/>
                  </a:moveTo>
                  <a:lnTo>
                    <a:pt x="33" y="0"/>
                  </a:lnTo>
                  <a:cubicBezTo>
                    <a:pt x="38" y="0"/>
                    <a:pt x="43" y="1"/>
                    <a:pt x="47" y="2"/>
                  </a:cubicBezTo>
                  <a:cubicBezTo>
                    <a:pt x="52" y="3"/>
                    <a:pt x="56" y="4"/>
                    <a:pt x="59" y="6"/>
                  </a:cubicBezTo>
                  <a:cubicBezTo>
                    <a:pt x="63" y="8"/>
                    <a:pt x="65" y="11"/>
                    <a:pt x="67" y="14"/>
                  </a:cubicBezTo>
                  <a:cubicBezTo>
                    <a:pt x="69" y="17"/>
                    <a:pt x="70" y="21"/>
                    <a:pt x="70" y="26"/>
                  </a:cubicBezTo>
                  <a:cubicBezTo>
                    <a:pt x="70" y="31"/>
                    <a:pt x="68" y="36"/>
                    <a:pt x="65" y="40"/>
                  </a:cubicBezTo>
                  <a:cubicBezTo>
                    <a:pt x="62" y="44"/>
                    <a:pt x="58" y="47"/>
                    <a:pt x="52" y="48"/>
                  </a:cubicBezTo>
                  <a:lnTo>
                    <a:pt x="52" y="49"/>
                  </a:lnTo>
                  <a:cubicBezTo>
                    <a:pt x="59" y="50"/>
                    <a:pt x="65" y="53"/>
                    <a:pt x="69" y="57"/>
                  </a:cubicBezTo>
                  <a:cubicBezTo>
                    <a:pt x="73" y="61"/>
                    <a:pt x="75" y="67"/>
                    <a:pt x="75" y="74"/>
                  </a:cubicBezTo>
                  <a:cubicBezTo>
                    <a:pt x="75" y="79"/>
                    <a:pt x="74" y="83"/>
                    <a:pt x="72" y="87"/>
                  </a:cubicBezTo>
                  <a:cubicBezTo>
                    <a:pt x="70" y="91"/>
                    <a:pt x="67" y="94"/>
                    <a:pt x="64" y="97"/>
                  </a:cubicBezTo>
                  <a:cubicBezTo>
                    <a:pt x="60" y="99"/>
                    <a:pt x="56" y="101"/>
                    <a:pt x="51" y="102"/>
                  </a:cubicBezTo>
                  <a:cubicBezTo>
                    <a:pt x="46" y="103"/>
                    <a:pt x="41" y="104"/>
                    <a:pt x="35" y="104"/>
                  </a:cubicBezTo>
                  <a:lnTo>
                    <a:pt x="0" y="104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69">
              <a:extLst>
                <a:ext uri="{FF2B5EF4-FFF2-40B4-BE49-F238E27FC236}">
                  <a16:creationId xmlns:a16="http://schemas.microsoft.com/office/drawing/2014/main" id="{B07A5796-5871-49C8-A51A-AE43EF6283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34556" y="2214429"/>
              <a:ext cx="62041" cy="82721"/>
            </a:xfrm>
            <a:custGeom>
              <a:avLst/>
              <a:gdLst>
                <a:gd name="T0" fmla="*/ 27 w 78"/>
                <a:gd name="T1" fmla="*/ 89 h 104"/>
                <a:gd name="T2" fmla="*/ 51 w 78"/>
                <a:gd name="T3" fmla="*/ 80 h 104"/>
                <a:gd name="T4" fmla="*/ 59 w 78"/>
                <a:gd name="T5" fmla="*/ 52 h 104"/>
                <a:gd name="T6" fmla="*/ 51 w 78"/>
                <a:gd name="T7" fmla="*/ 24 h 104"/>
                <a:gd name="T8" fmla="*/ 27 w 78"/>
                <a:gd name="T9" fmla="*/ 15 h 104"/>
                <a:gd name="T10" fmla="*/ 18 w 78"/>
                <a:gd name="T11" fmla="*/ 15 h 104"/>
                <a:gd name="T12" fmla="*/ 18 w 78"/>
                <a:gd name="T13" fmla="*/ 89 h 104"/>
                <a:gd name="T14" fmla="*/ 27 w 78"/>
                <a:gd name="T15" fmla="*/ 89 h 104"/>
                <a:gd name="T16" fmla="*/ 0 w 78"/>
                <a:gd name="T17" fmla="*/ 0 h 104"/>
                <a:gd name="T18" fmla="*/ 28 w 78"/>
                <a:gd name="T19" fmla="*/ 0 h 104"/>
                <a:gd name="T20" fmla="*/ 65 w 78"/>
                <a:gd name="T21" fmla="*/ 13 h 104"/>
                <a:gd name="T22" fmla="*/ 78 w 78"/>
                <a:gd name="T23" fmla="*/ 52 h 104"/>
                <a:gd name="T24" fmla="*/ 75 w 78"/>
                <a:gd name="T25" fmla="*/ 74 h 104"/>
                <a:gd name="T26" fmla="*/ 65 w 78"/>
                <a:gd name="T27" fmla="*/ 91 h 104"/>
                <a:gd name="T28" fmla="*/ 49 w 78"/>
                <a:gd name="T29" fmla="*/ 101 h 104"/>
                <a:gd name="T30" fmla="*/ 29 w 78"/>
                <a:gd name="T31" fmla="*/ 104 h 104"/>
                <a:gd name="T32" fmla="*/ 0 w 78"/>
                <a:gd name="T33" fmla="*/ 104 h 104"/>
                <a:gd name="T34" fmla="*/ 0 w 78"/>
                <a:gd name="T3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4">
                  <a:moveTo>
                    <a:pt x="27" y="89"/>
                  </a:moveTo>
                  <a:cubicBezTo>
                    <a:pt x="37" y="89"/>
                    <a:pt x="45" y="86"/>
                    <a:pt x="51" y="80"/>
                  </a:cubicBezTo>
                  <a:cubicBezTo>
                    <a:pt x="57" y="74"/>
                    <a:pt x="59" y="65"/>
                    <a:pt x="59" y="52"/>
                  </a:cubicBezTo>
                  <a:cubicBezTo>
                    <a:pt x="59" y="39"/>
                    <a:pt x="56" y="30"/>
                    <a:pt x="51" y="24"/>
                  </a:cubicBezTo>
                  <a:cubicBezTo>
                    <a:pt x="45" y="18"/>
                    <a:pt x="37" y="15"/>
                    <a:pt x="27" y="15"/>
                  </a:cubicBezTo>
                  <a:lnTo>
                    <a:pt x="18" y="15"/>
                  </a:lnTo>
                  <a:lnTo>
                    <a:pt x="18" y="89"/>
                  </a:lnTo>
                  <a:lnTo>
                    <a:pt x="27" y="89"/>
                  </a:lnTo>
                  <a:close/>
                  <a:moveTo>
                    <a:pt x="0" y="0"/>
                  </a:moveTo>
                  <a:lnTo>
                    <a:pt x="28" y="0"/>
                  </a:lnTo>
                  <a:cubicBezTo>
                    <a:pt x="44" y="0"/>
                    <a:pt x="56" y="5"/>
                    <a:pt x="65" y="13"/>
                  </a:cubicBezTo>
                  <a:cubicBezTo>
                    <a:pt x="74" y="22"/>
                    <a:pt x="78" y="35"/>
                    <a:pt x="78" y="52"/>
                  </a:cubicBezTo>
                  <a:cubicBezTo>
                    <a:pt x="78" y="60"/>
                    <a:pt x="77" y="68"/>
                    <a:pt x="75" y="74"/>
                  </a:cubicBezTo>
                  <a:cubicBezTo>
                    <a:pt x="73" y="81"/>
                    <a:pt x="69" y="86"/>
                    <a:pt x="65" y="91"/>
                  </a:cubicBezTo>
                  <a:cubicBezTo>
                    <a:pt x="61" y="95"/>
                    <a:pt x="56" y="98"/>
                    <a:pt x="49" y="101"/>
                  </a:cubicBezTo>
                  <a:cubicBezTo>
                    <a:pt x="43" y="103"/>
                    <a:pt x="36" y="104"/>
                    <a:pt x="29" y="104"/>
                  </a:cubicBezTo>
                  <a:lnTo>
                    <a:pt x="0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70">
              <a:extLst>
                <a:ext uri="{FF2B5EF4-FFF2-40B4-BE49-F238E27FC236}">
                  <a16:creationId xmlns:a16="http://schemas.microsoft.com/office/drawing/2014/main" id="{AC1AC759-BD7C-4AAF-BD3B-3B4280FF5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095" y="2214429"/>
              <a:ext cx="50905" cy="82721"/>
            </a:xfrm>
            <a:custGeom>
              <a:avLst/>
              <a:gdLst>
                <a:gd name="T0" fmla="*/ 0 w 32"/>
                <a:gd name="T1" fmla="*/ 0 h 52"/>
                <a:gd name="T2" fmla="*/ 31 w 32"/>
                <a:gd name="T3" fmla="*/ 0 h 52"/>
                <a:gd name="T4" fmla="*/ 31 w 32"/>
                <a:gd name="T5" fmla="*/ 8 h 52"/>
                <a:gd name="T6" fmla="*/ 9 w 32"/>
                <a:gd name="T7" fmla="*/ 8 h 52"/>
                <a:gd name="T8" fmla="*/ 9 w 32"/>
                <a:gd name="T9" fmla="*/ 21 h 52"/>
                <a:gd name="T10" fmla="*/ 28 w 32"/>
                <a:gd name="T11" fmla="*/ 21 h 52"/>
                <a:gd name="T12" fmla="*/ 28 w 32"/>
                <a:gd name="T13" fmla="*/ 29 h 52"/>
                <a:gd name="T14" fmla="*/ 9 w 32"/>
                <a:gd name="T15" fmla="*/ 29 h 52"/>
                <a:gd name="T16" fmla="*/ 9 w 32"/>
                <a:gd name="T17" fmla="*/ 45 h 52"/>
                <a:gd name="T18" fmla="*/ 32 w 32"/>
                <a:gd name="T19" fmla="*/ 45 h 52"/>
                <a:gd name="T20" fmla="*/ 32 w 32"/>
                <a:gd name="T21" fmla="*/ 52 h 52"/>
                <a:gd name="T22" fmla="*/ 0 w 32"/>
                <a:gd name="T23" fmla="*/ 52 h 52"/>
                <a:gd name="T24" fmla="*/ 0 w 32"/>
                <a:gd name="T2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52">
                  <a:moveTo>
                    <a:pt x="0" y="0"/>
                  </a:moveTo>
                  <a:lnTo>
                    <a:pt x="31" y="0"/>
                  </a:lnTo>
                  <a:lnTo>
                    <a:pt x="31" y="8"/>
                  </a:lnTo>
                  <a:lnTo>
                    <a:pt x="9" y="8"/>
                  </a:lnTo>
                  <a:lnTo>
                    <a:pt x="9" y="21"/>
                  </a:lnTo>
                  <a:lnTo>
                    <a:pt x="28" y="21"/>
                  </a:lnTo>
                  <a:lnTo>
                    <a:pt x="28" y="29"/>
                  </a:lnTo>
                  <a:lnTo>
                    <a:pt x="9" y="29"/>
                  </a:lnTo>
                  <a:lnTo>
                    <a:pt x="9" y="45"/>
                  </a:lnTo>
                  <a:lnTo>
                    <a:pt x="32" y="45"/>
                  </a:lnTo>
                  <a:lnTo>
                    <a:pt x="32" y="52"/>
                  </a:lnTo>
                  <a:lnTo>
                    <a:pt x="0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71">
              <a:extLst>
                <a:ext uri="{FF2B5EF4-FFF2-40B4-BE49-F238E27FC236}">
                  <a16:creationId xmlns:a16="http://schemas.microsoft.com/office/drawing/2014/main" id="{47D0072D-60D9-4279-B95C-0DDF41B3FC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2955" y="2214429"/>
              <a:ext cx="97038" cy="82721"/>
            </a:xfrm>
            <a:custGeom>
              <a:avLst/>
              <a:gdLst>
                <a:gd name="T0" fmla="*/ 0 w 121"/>
                <a:gd name="T1" fmla="*/ 0 h 104"/>
                <a:gd name="T2" fmla="*/ 19 w 121"/>
                <a:gd name="T3" fmla="*/ 0 h 104"/>
                <a:gd name="T4" fmla="*/ 28 w 121"/>
                <a:gd name="T5" fmla="*/ 53 h 104"/>
                <a:gd name="T6" fmla="*/ 30 w 121"/>
                <a:gd name="T7" fmla="*/ 69 h 104"/>
                <a:gd name="T8" fmla="*/ 33 w 121"/>
                <a:gd name="T9" fmla="*/ 86 h 104"/>
                <a:gd name="T10" fmla="*/ 34 w 121"/>
                <a:gd name="T11" fmla="*/ 86 h 104"/>
                <a:gd name="T12" fmla="*/ 37 w 121"/>
                <a:gd name="T13" fmla="*/ 69 h 104"/>
                <a:gd name="T14" fmla="*/ 40 w 121"/>
                <a:gd name="T15" fmla="*/ 53 h 104"/>
                <a:gd name="T16" fmla="*/ 53 w 121"/>
                <a:gd name="T17" fmla="*/ 0 h 104"/>
                <a:gd name="T18" fmla="*/ 69 w 121"/>
                <a:gd name="T19" fmla="*/ 0 h 104"/>
                <a:gd name="T20" fmla="*/ 82 w 121"/>
                <a:gd name="T21" fmla="*/ 53 h 104"/>
                <a:gd name="T22" fmla="*/ 85 w 121"/>
                <a:gd name="T23" fmla="*/ 69 h 104"/>
                <a:gd name="T24" fmla="*/ 89 w 121"/>
                <a:gd name="T25" fmla="*/ 86 h 104"/>
                <a:gd name="T26" fmla="*/ 89 w 121"/>
                <a:gd name="T27" fmla="*/ 86 h 104"/>
                <a:gd name="T28" fmla="*/ 92 w 121"/>
                <a:gd name="T29" fmla="*/ 69 h 104"/>
                <a:gd name="T30" fmla="*/ 94 w 121"/>
                <a:gd name="T31" fmla="*/ 53 h 104"/>
                <a:gd name="T32" fmla="*/ 103 w 121"/>
                <a:gd name="T33" fmla="*/ 0 h 104"/>
                <a:gd name="T34" fmla="*/ 121 w 121"/>
                <a:gd name="T35" fmla="*/ 0 h 104"/>
                <a:gd name="T36" fmla="*/ 101 w 121"/>
                <a:gd name="T37" fmla="*/ 104 h 104"/>
                <a:gd name="T38" fmla="*/ 78 w 121"/>
                <a:gd name="T39" fmla="*/ 104 h 104"/>
                <a:gd name="T40" fmla="*/ 65 w 121"/>
                <a:gd name="T41" fmla="*/ 50 h 104"/>
                <a:gd name="T42" fmla="*/ 63 w 121"/>
                <a:gd name="T43" fmla="*/ 38 h 104"/>
                <a:gd name="T44" fmla="*/ 61 w 121"/>
                <a:gd name="T45" fmla="*/ 26 h 104"/>
                <a:gd name="T46" fmla="*/ 60 w 121"/>
                <a:gd name="T47" fmla="*/ 26 h 104"/>
                <a:gd name="T48" fmla="*/ 58 w 121"/>
                <a:gd name="T49" fmla="*/ 38 h 104"/>
                <a:gd name="T50" fmla="*/ 55 w 121"/>
                <a:gd name="T51" fmla="*/ 50 h 104"/>
                <a:gd name="T52" fmla="*/ 43 w 121"/>
                <a:gd name="T53" fmla="*/ 104 h 104"/>
                <a:gd name="T54" fmla="*/ 21 w 121"/>
                <a:gd name="T55" fmla="*/ 104 h 104"/>
                <a:gd name="T56" fmla="*/ 0 w 121"/>
                <a:gd name="T5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1" h="104">
                  <a:moveTo>
                    <a:pt x="0" y="0"/>
                  </a:moveTo>
                  <a:lnTo>
                    <a:pt x="19" y="0"/>
                  </a:lnTo>
                  <a:lnTo>
                    <a:pt x="28" y="53"/>
                  </a:lnTo>
                  <a:cubicBezTo>
                    <a:pt x="29" y="58"/>
                    <a:pt x="30" y="64"/>
                    <a:pt x="30" y="69"/>
                  </a:cubicBezTo>
                  <a:cubicBezTo>
                    <a:pt x="31" y="75"/>
                    <a:pt x="32" y="80"/>
                    <a:pt x="33" y="86"/>
                  </a:cubicBezTo>
                  <a:lnTo>
                    <a:pt x="34" y="86"/>
                  </a:lnTo>
                  <a:cubicBezTo>
                    <a:pt x="35" y="80"/>
                    <a:pt x="36" y="75"/>
                    <a:pt x="37" y="69"/>
                  </a:cubicBezTo>
                  <a:cubicBezTo>
                    <a:pt x="38" y="64"/>
                    <a:pt x="39" y="58"/>
                    <a:pt x="40" y="53"/>
                  </a:cubicBezTo>
                  <a:lnTo>
                    <a:pt x="53" y="0"/>
                  </a:lnTo>
                  <a:lnTo>
                    <a:pt x="69" y="0"/>
                  </a:lnTo>
                  <a:lnTo>
                    <a:pt x="82" y="53"/>
                  </a:lnTo>
                  <a:cubicBezTo>
                    <a:pt x="83" y="58"/>
                    <a:pt x="84" y="64"/>
                    <a:pt x="85" y="69"/>
                  </a:cubicBezTo>
                  <a:cubicBezTo>
                    <a:pt x="86" y="75"/>
                    <a:pt x="87" y="80"/>
                    <a:pt x="89" y="86"/>
                  </a:cubicBezTo>
                  <a:lnTo>
                    <a:pt x="89" y="86"/>
                  </a:lnTo>
                  <a:cubicBezTo>
                    <a:pt x="90" y="80"/>
                    <a:pt x="91" y="75"/>
                    <a:pt x="92" y="69"/>
                  </a:cubicBezTo>
                  <a:cubicBezTo>
                    <a:pt x="93" y="64"/>
                    <a:pt x="93" y="58"/>
                    <a:pt x="94" y="53"/>
                  </a:cubicBezTo>
                  <a:lnTo>
                    <a:pt x="103" y="0"/>
                  </a:lnTo>
                  <a:lnTo>
                    <a:pt x="121" y="0"/>
                  </a:lnTo>
                  <a:lnTo>
                    <a:pt x="101" y="104"/>
                  </a:lnTo>
                  <a:lnTo>
                    <a:pt x="78" y="104"/>
                  </a:lnTo>
                  <a:lnTo>
                    <a:pt x="65" y="50"/>
                  </a:lnTo>
                  <a:cubicBezTo>
                    <a:pt x="65" y="46"/>
                    <a:pt x="64" y="42"/>
                    <a:pt x="63" y="38"/>
                  </a:cubicBezTo>
                  <a:cubicBezTo>
                    <a:pt x="62" y="34"/>
                    <a:pt x="61" y="30"/>
                    <a:pt x="61" y="26"/>
                  </a:cubicBezTo>
                  <a:lnTo>
                    <a:pt x="60" y="26"/>
                  </a:lnTo>
                  <a:cubicBezTo>
                    <a:pt x="59" y="30"/>
                    <a:pt x="59" y="34"/>
                    <a:pt x="58" y="38"/>
                  </a:cubicBezTo>
                  <a:cubicBezTo>
                    <a:pt x="57" y="42"/>
                    <a:pt x="56" y="46"/>
                    <a:pt x="55" y="50"/>
                  </a:cubicBezTo>
                  <a:lnTo>
                    <a:pt x="43" y="104"/>
                  </a:lnTo>
                  <a:lnTo>
                    <a:pt x="21" y="104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9" name="Rechteck 28">
            <a:extLst>
              <a:ext uri="{FF2B5EF4-FFF2-40B4-BE49-F238E27FC236}">
                <a16:creationId xmlns:a16="http://schemas.microsoft.com/office/drawing/2014/main" id="{08DC7671-E9B3-40AD-A40B-000AF31ADB17}"/>
              </a:ext>
            </a:extLst>
          </p:cNvPr>
          <p:cNvSpPr/>
          <p:nvPr/>
        </p:nvSpPr>
        <p:spPr>
          <a:xfrm>
            <a:off x="143223" y="144115"/>
            <a:ext cx="8928000" cy="4896000"/>
          </a:xfrm>
          <a:prstGeom prst="rect">
            <a:avLst/>
          </a:prstGeom>
          <a:noFill/>
          <a:ln>
            <a:solidFill>
              <a:srgbClr val="C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360"/>
          </a:p>
        </p:txBody>
      </p:sp>
    </p:spTree>
    <p:extLst>
      <p:ext uri="{BB962C8B-B14F-4D97-AF65-F5344CB8AC3E}">
        <p14:creationId xmlns:p14="http://schemas.microsoft.com/office/powerpoint/2010/main" val="3816396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90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rennse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B7B1C7-ECAC-4ABD-89EE-B8EB28BAC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2808000"/>
            <a:ext cx="6192000" cy="864000"/>
          </a:xfrm>
        </p:spPr>
        <p:txBody>
          <a:bodyPr anchor="b" anchorCtr="0"/>
          <a:lstStyle>
            <a:lvl1pPr>
              <a:lnSpc>
                <a:spcPct val="90000"/>
              </a:lnSpc>
              <a:defRPr sz="44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333626-529A-4399-8CFD-780BFF8EB0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3888603"/>
            <a:ext cx="6192000" cy="64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A2C687E-C0DD-4B55-8E06-A4E29A0AA4D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1255" y="4680000"/>
            <a:ext cx="504000" cy="144000"/>
          </a:xfrm>
        </p:spPr>
        <p:txBody>
          <a:bodyPr/>
          <a:lstStyle/>
          <a:p>
            <a:fld id="{34FF41D8-B6F7-4D09-80F4-2FEBE7B0B720}" type="datetime1">
              <a:rPr lang="de-DE" smtClean="0"/>
              <a:t>24.11.2022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CE447B3-1D9E-42C0-90FF-2C7936C17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55975" y="4680000"/>
            <a:ext cx="4968000" cy="144000"/>
          </a:xfrm>
        </p:spPr>
        <p:txBody>
          <a:bodyPr lIns="0"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C8BC806-EFFB-4381-8642-8E13EA13F2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23343" y="4680000"/>
            <a:ext cx="432000" cy="144000"/>
          </a:xfrm>
        </p:spPr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A2D23D7-6AD0-43B7-B038-34AC9047DEA6}"/>
              </a:ext>
            </a:extLst>
          </p:cNvPr>
          <p:cNvSpPr/>
          <p:nvPr/>
        </p:nvSpPr>
        <p:spPr>
          <a:xfrm>
            <a:off x="143223" y="144115"/>
            <a:ext cx="8928000" cy="4896000"/>
          </a:xfrm>
          <a:prstGeom prst="rect">
            <a:avLst/>
          </a:prstGeom>
          <a:noFill/>
          <a:ln>
            <a:solidFill>
              <a:srgbClr val="C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36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5F4B214D-B22B-4357-A7F8-C6D19E668AD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271990" y="576162"/>
            <a:ext cx="1800225" cy="1224000"/>
            <a:chOff x="7271990" y="576162"/>
            <a:chExt cx="1800225" cy="1224000"/>
          </a:xfrm>
        </p:grpSpPr>
        <p:sp>
          <p:nvSpPr>
            <p:cNvPr id="16" name="Rectangle 6">
              <a:extLst>
                <a:ext uri="{FF2B5EF4-FFF2-40B4-BE49-F238E27FC236}">
                  <a16:creationId xmlns:a16="http://schemas.microsoft.com/office/drawing/2014/main" id="{2D655FC1-3977-429F-B6AC-5E6CF09E1BA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271990" y="576162"/>
              <a:ext cx="1800225" cy="1224000"/>
            </a:xfrm>
            <a:prstGeom prst="rect">
              <a:avLst/>
            </a:prstGeom>
            <a:solidFill>
              <a:srgbClr val="C2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93AA864C-15C1-434A-9403-4C92A806295B}"/>
                </a:ext>
              </a:extLst>
            </p:cNvPr>
            <p:cNvGrpSpPr/>
            <p:nvPr/>
          </p:nvGrpSpPr>
          <p:grpSpPr bwMode="gray">
            <a:xfrm>
              <a:off x="7538786" y="868025"/>
              <a:ext cx="1244600" cy="646113"/>
              <a:chOff x="7538786" y="868025"/>
              <a:chExt cx="1244600" cy="646113"/>
            </a:xfrm>
          </p:grpSpPr>
          <p:sp>
            <p:nvSpPr>
              <p:cNvPr id="18" name="Freeform 38">
                <a:extLst>
                  <a:ext uri="{FF2B5EF4-FFF2-40B4-BE49-F238E27FC236}">
                    <a16:creationId xmlns:a16="http://schemas.microsoft.com/office/drawing/2014/main" id="{4A1BB83E-FF50-42A6-9E47-43656823DDB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1398250"/>
                <a:ext cx="1244600" cy="115888"/>
              </a:xfrm>
              <a:custGeom>
                <a:avLst/>
                <a:gdLst>
                  <a:gd name="T0" fmla="*/ 1559 w 1559"/>
                  <a:gd name="T1" fmla="*/ 104 h 146"/>
                  <a:gd name="T2" fmla="*/ 1471 w 1559"/>
                  <a:gd name="T3" fmla="*/ 48 h 146"/>
                  <a:gd name="T4" fmla="*/ 1472 w 1559"/>
                  <a:gd name="T5" fmla="*/ 114 h 146"/>
                  <a:gd name="T6" fmla="*/ 1518 w 1559"/>
                  <a:gd name="T7" fmla="*/ 114 h 146"/>
                  <a:gd name="T8" fmla="*/ 1433 w 1559"/>
                  <a:gd name="T9" fmla="*/ 74 h 146"/>
                  <a:gd name="T10" fmla="*/ 1431 w 1559"/>
                  <a:gd name="T11" fmla="*/ 92 h 146"/>
                  <a:gd name="T12" fmla="*/ 1332 w 1559"/>
                  <a:gd name="T13" fmla="*/ 75 h 146"/>
                  <a:gd name="T14" fmla="*/ 1332 w 1559"/>
                  <a:gd name="T15" fmla="*/ 75 h 146"/>
                  <a:gd name="T16" fmla="*/ 1304 w 1559"/>
                  <a:gd name="T17" fmla="*/ 2 h 146"/>
                  <a:gd name="T18" fmla="*/ 1303 w 1559"/>
                  <a:gd name="T19" fmla="*/ 108 h 146"/>
                  <a:gd name="T20" fmla="*/ 1232 w 1559"/>
                  <a:gd name="T21" fmla="*/ 51 h 146"/>
                  <a:gd name="T22" fmla="*/ 1231 w 1559"/>
                  <a:gd name="T23" fmla="*/ 115 h 146"/>
                  <a:gd name="T24" fmla="*/ 1265 w 1559"/>
                  <a:gd name="T25" fmla="*/ 80 h 146"/>
                  <a:gd name="T26" fmla="*/ 1145 w 1559"/>
                  <a:gd name="T27" fmla="*/ 11 h 146"/>
                  <a:gd name="T28" fmla="*/ 1061 w 1559"/>
                  <a:gd name="T29" fmla="*/ 92 h 146"/>
                  <a:gd name="T30" fmla="*/ 1044 w 1559"/>
                  <a:gd name="T31" fmla="*/ 37 h 146"/>
                  <a:gd name="T32" fmla="*/ 1008 w 1559"/>
                  <a:gd name="T33" fmla="*/ 56 h 146"/>
                  <a:gd name="T34" fmla="*/ 1051 w 1559"/>
                  <a:gd name="T35" fmla="*/ 54 h 146"/>
                  <a:gd name="T36" fmla="*/ 970 w 1559"/>
                  <a:gd name="T37" fmla="*/ 68 h 146"/>
                  <a:gd name="T38" fmla="*/ 989 w 1559"/>
                  <a:gd name="T39" fmla="*/ 108 h 146"/>
                  <a:gd name="T40" fmla="*/ 990 w 1559"/>
                  <a:gd name="T41" fmla="*/ 74 h 146"/>
                  <a:gd name="T42" fmla="*/ 906 w 1559"/>
                  <a:gd name="T43" fmla="*/ 57 h 146"/>
                  <a:gd name="T44" fmla="*/ 892 w 1559"/>
                  <a:gd name="T45" fmla="*/ 92 h 146"/>
                  <a:gd name="T46" fmla="*/ 911 w 1559"/>
                  <a:gd name="T47" fmla="*/ 91 h 146"/>
                  <a:gd name="T48" fmla="*/ 837 w 1559"/>
                  <a:gd name="T49" fmla="*/ 57 h 146"/>
                  <a:gd name="T50" fmla="*/ 823 w 1559"/>
                  <a:gd name="T51" fmla="*/ 92 h 146"/>
                  <a:gd name="T52" fmla="*/ 843 w 1559"/>
                  <a:gd name="T53" fmla="*/ 91 h 146"/>
                  <a:gd name="T54" fmla="*/ 749 w 1559"/>
                  <a:gd name="T55" fmla="*/ 80 h 146"/>
                  <a:gd name="T56" fmla="*/ 765 w 1559"/>
                  <a:gd name="T57" fmla="*/ 43 h 146"/>
                  <a:gd name="T58" fmla="*/ 749 w 1559"/>
                  <a:gd name="T59" fmla="*/ 61 h 146"/>
                  <a:gd name="T60" fmla="*/ 751 w 1559"/>
                  <a:gd name="T61" fmla="*/ 107 h 146"/>
                  <a:gd name="T62" fmla="*/ 667 w 1559"/>
                  <a:gd name="T63" fmla="*/ 61 h 146"/>
                  <a:gd name="T64" fmla="*/ 613 w 1559"/>
                  <a:gd name="T65" fmla="*/ 61 h 146"/>
                  <a:gd name="T66" fmla="*/ 597 w 1559"/>
                  <a:gd name="T67" fmla="*/ 114 h 146"/>
                  <a:gd name="T68" fmla="*/ 650 w 1559"/>
                  <a:gd name="T69" fmla="*/ 114 h 146"/>
                  <a:gd name="T70" fmla="*/ 512 w 1559"/>
                  <a:gd name="T71" fmla="*/ 104 h 146"/>
                  <a:gd name="T72" fmla="*/ 464 w 1559"/>
                  <a:gd name="T73" fmla="*/ 51 h 146"/>
                  <a:gd name="T74" fmla="*/ 462 w 1559"/>
                  <a:gd name="T75" fmla="*/ 115 h 146"/>
                  <a:gd name="T76" fmla="*/ 496 w 1559"/>
                  <a:gd name="T77" fmla="*/ 80 h 146"/>
                  <a:gd name="T78" fmla="*/ 393 w 1559"/>
                  <a:gd name="T79" fmla="*/ 38 h 146"/>
                  <a:gd name="T80" fmla="*/ 391 w 1559"/>
                  <a:gd name="T81" fmla="*/ 12 h 146"/>
                  <a:gd name="T82" fmla="*/ 326 w 1559"/>
                  <a:gd name="T83" fmla="*/ 75 h 146"/>
                  <a:gd name="T84" fmla="*/ 355 w 1559"/>
                  <a:gd name="T85" fmla="*/ 38 h 146"/>
                  <a:gd name="T86" fmla="*/ 353 w 1559"/>
                  <a:gd name="T87" fmla="*/ 103 h 146"/>
                  <a:gd name="T88" fmla="*/ 310 w 1559"/>
                  <a:gd name="T89" fmla="*/ 122 h 146"/>
                  <a:gd name="T90" fmla="*/ 373 w 1559"/>
                  <a:gd name="T91" fmla="*/ 56 h 146"/>
                  <a:gd name="T92" fmla="*/ 269 w 1559"/>
                  <a:gd name="T93" fmla="*/ 47 h 146"/>
                  <a:gd name="T94" fmla="*/ 270 w 1559"/>
                  <a:gd name="T95" fmla="*/ 114 h 146"/>
                  <a:gd name="T96" fmla="*/ 211 w 1559"/>
                  <a:gd name="T97" fmla="*/ 68 h 146"/>
                  <a:gd name="T98" fmla="*/ 198 w 1559"/>
                  <a:gd name="T99" fmla="*/ 36 h 146"/>
                  <a:gd name="T100" fmla="*/ 200 w 1559"/>
                  <a:gd name="T101" fmla="*/ 100 h 146"/>
                  <a:gd name="T102" fmla="*/ 148 w 1559"/>
                  <a:gd name="T103" fmla="*/ 62 h 146"/>
                  <a:gd name="T104" fmla="*/ 81 w 1559"/>
                  <a:gd name="T105" fmla="*/ 38 h 146"/>
                  <a:gd name="T106" fmla="*/ 119 w 1559"/>
                  <a:gd name="T107" fmla="*/ 54 h 146"/>
                  <a:gd name="T108" fmla="*/ 66 w 1559"/>
                  <a:gd name="T109" fmla="*/ 96 h 146"/>
                  <a:gd name="T110" fmla="*/ 21 w 1559"/>
                  <a:gd name="T111" fmla="*/ 52 h 146"/>
                  <a:gd name="T112" fmla="*/ 0 w 1559"/>
                  <a:gd name="T113" fmla="*/ 11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59" h="146">
                    <a:moveTo>
                      <a:pt x="1559" y="104"/>
                    </a:moveTo>
                    <a:cubicBezTo>
                      <a:pt x="1559" y="98"/>
                      <a:pt x="1556" y="92"/>
                      <a:pt x="1547" y="92"/>
                    </a:cubicBezTo>
                    <a:cubicBezTo>
                      <a:pt x="1539" y="92"/>
                      <a:pt x="1535" y="98"/>
                      <a:pt x="1535" y="104"/>
                    </a:cubicBezTo>
                    <a:cubicBezTo>
                      <a:pt x="1535" y="110"/>
                      <a:pt x="1539" y="116"/>
                      <a:pt x="1547" y="116"/>
                    </a:cubicBezTo>
                    <a:cubicBezTo>
                      <a:pt x="1556" y="116"/>
                      <a:pt x="1559" y="110"/>
                      <a:pt x="1559" y="104"/>
                    </a:cubicBezTo>
                    <a:close/>
                    <a:moveTo>
                      <a:pt x="1518" y="114"/>
                    </a:moveTo>
                    <a:lnTo>
                      <a:pt x="1518" y="62"/>
                    </a:lnTo>
                    <a:cubicBezTo>
                      <a:pt x="1518" y="55"/>
                      <a:pt x="1517" y="49"/>
                      <a:pt x="1514" y="45"/>
                    </a:cubicBezTo>
                    <a:cubicBezTo>
                      <a:pt x="1510" y="39"/>
                      <a:pt x="1504" y="36"/>
                      <a:pt x="1495" y="36"/>
                    </a:cubicBezTo>
                    <a:cubicBezTo>
                      <a:pt x="1485" y="36"/>
                      <a:pt x="1474" y="45"/>
                      <a:pt x="1471" y="48"/>
                    </a:cubicBezTo>
                    <a:cubicBezTo>
                      <a:pt x="1471" y="43"/>
                      <a:pt x="1470" y="38"/>
                      <a:pt x="1470" y="38"/>
                    </a:cubicBezTo>
                    <a:lnTo>
                      <a:pt x="1450" y="38"/>
                    </a:lnTo>
                    <a:cubicBezTo>
                      <a:pt x="1450" y="38"/>
                      <a:pt x="1451" y="47"/>
                      <a:pt x="1451" y="56"/>
                    </a:cubicBezTo>
                    <a:lnTo>
                      <a:pt x="1451" y="114"/>
                    </a:lnTo>
                    <a:lnTo>
                      <a:pt x="1472" y="114"/>
                    </a:lnTo>
                    <a:lnTo>
                      <a:pt x="1472" y="62"/>
                    </a:lnTo>
                    <a:cubicBezTo>
                      <a:pt x="1475" y="59"/>
                      <a:pt x="1482" y="54"/>
                      <a:pt x="1488" y="54"/>
                    </a:cubicBezTo>
                    <a:cubicBezTo>
                      <a:pt x="1493" y="54"/>
                      <a:pt x="1497" y="55"/>
                      <a:pt x="1497" y="64"/>
                    </a:cubicBezTo>
                    <a:lnTo>
                      <a:pt x="1497" y="114"/>
                    </a:lnTo>
                    <a:lnTo>
                      <a:pt x="1518" y="114"/>
                    </a:lnTo>
                    <a:close/>
                    <a:moveTo>
                      <a:pt x="1413" y="68"/>
                    </a:moveTo>
                    <a:lnTo>
                      <a:pt x="1389" y="68"/>
                    </a:lnTo>
                    <a:cubicBezTo>
                      <a:pt x="1389" y="62"/>
                      <a:pt x="1391" y="51"/>
                      <a:pt x="1400" y="51"/>
                    </a:cubicBezTo>
                    <a:cubicBezTo>
                      <a:pt x="1411" y="51"/>
                      <a:pt x="1413" y="62"/>
                      <a:pt x="1413" y="68"/>
                    </a:cubicBezTo>
                    <a:close/>
                    <a:moveTo>
                      <a:pt x="1433" y="74"/>
                    </a:moveTo>
                    <a:cubicBezTo>
                      <a:pt x="1433" y="56"/>
                      <a:pt x="1426" y="36"/>
                      <a:pt x="1400" y="36"/>
                    </a:cubicBezTo>
                    <a:cubicBezTo>
                      <a:pt x="1378" y="36"/>
                      <a:pt x="1367" y="56"/>
                      <a:pt x="1367" y="76"/>
                    </a:cubicBezTo>
                    <a:cubicBezTo>
                      <a:pt x="1367" y="90"/>
                      <a:pt x="1372" y="115"/>
                      <a:pt x="1399" y="115"/>
                    </a:cubicBezTo>
                    <a:cubicBezTo>
                      <a:pt x="1420" y="115"/>
                      <a:pt x="1432" y="108"/>
                      <a:pt x="1432" y="108"/>
                    </a:cubicBezTo>
                    <a:lnTo>
                      <a:pt x="1431" y="92"/>
                    </a:lnTo>
                    <a:cubicBezTo>
                      <a:pt x="1431" y="92"/>
                      <a:pt x="1416" y="100"/>
                      <a:pt x="1402" y="100"/>
                    </a:cubicBezTo>
                    <a:cubicBezTo>
                      <a:pt x="1393" y="100"/>
                      <a:pt x="1389" y="94"/>
                      <a:pt x="1389" y="80"/>
                    </a:cubicBezTo>
                    <a:lnTo>
                      <a:pt x="1433" y="80"/>
                    </a:lnTo>
                    <a:cubicBezTo>
                      <a:pt x="1433" y="80"/>
                      <a:pt x="1433" y="76"/>
                      <a:pt x="1433" y="74"/>
                    </a:cubicBezTo>
                    <a:moveTo>
                      <a:pt x="1332" y="75"/>
                    </a:moveTo>
                    <a:cubicBezTo>
                      <a:pt x="1332" y="93"/>
                      <a:pt x="1326" y="99"/>
                      <a:pt x="1319" y="99"/>
                    </a:cubicBezTo>
                    <a:cubicBezTo>
                      <a:pt x="1316" y="99"/>
                      <a:pt x="1310" y="97"/>
                      <a:pt x="1304" y="94"/>
                    </a:cubicBezTo>
                    <a:lnTo>
                      <a:pt x="1304" y="59"/>
                    </a:lnTo>
                    <a:cubicBezTo>
                      <a:pt x="1310" y="54"/>
                      <a:pt x="1316" y="53"/>
                      <a:pt x="1320" y="53"/>
                    </a:cubicBezTo>
                    <a:cubicBezTo>
                      <a:pt x="1330" y="53"/>
                      <a:pt x="1332" y="67"/>
                      <a:pt x="1332" y="75"/>
                    </a:cubicBezTo>
                    <a:close/>
                    <a:moveTo>
                      <a:pt x="1353" y="76"/>
                    </a:moveTo>
                    <a:cubicBezTo>
                      <a:pt x="1353" y="60"/>
                      <a:pt x="1349" y="36"/>
                      <a:pt x="1324" y="36"/>
                    </a:cubicBezTo>
                    <a:cubicBezTo>
                      <a:pt x="1315" y="36"/>
                      <a:pt x="1306" y="43"/>
                      <a:pt x="1304" y="44"/>
                    </a:cubicBezTo>
                    <a:cubicBezTo>
                      <a:pt x="1304" y="44"/>
                      <a:pt x="1304" y="39"/>
                      <a:pt x="1304" y="36"/>
                    </a:cubicBezTo>
                    <a:lnTo>
                      <a:pt x="1304" y="2"/>
                    </a:lnTo>
                    <a:lnTo>
                      <a:pt x="1284" y="4"/>
                    </a:lnTo>
                    <a:lnTo>
                      <a:pt x="1284" y="98"/>
                    </a:lnTo>
                    <a:cubicBezTo>
                      <a:pt x="1284" y="105"/>
                      <a:pt x="1283" y="114"/>
                      <a:pt x="1283" y="114"/>
                    </a:cubicBezTo>
                    <a:lnTo>
                      <a:pt x="1302" y="114"/>
                    </a:lnTo>
                    <a:cubicBezTo>
                      <a:pt x="1303" y="112"/>
                      <a:pt x="1303" y="109"/>
                      <a:pt x="1303" y="108"/>
                    </a:cubicBezTo>
                    <a:cubicBezTo>
                      <a:pt x="1304" y="109"/>
                      <a:pt x="1313" y="115"/>
                      <a:pt x="1324" y="115"/>
                    </a:cubicBezTo>
                    <a:cubicBezTo>
                      <a:pt x="1342" y="115"/>
                      <a:pt x="1353" y="98"/>
                      <a:pt x="1353" y="76"/>
                    </a:cubicBezTo>
                    <a:moveTo>
                      <a:pt x="1245" y="68"/>
                    </a:moveTo>
                    <a:lnTo>
                      <a:pt x="1221" y="68"/>
                    </a:lnTo>
                    <a:cubicBezTo>
                      <a:pt x="1221" y="62"/>
                      <a:pt x="1223" y="51"/>
                      <a:pt x="1232" y="51"/>
                    </a:cubicBezTo>
                    <a:cubicBezTo>
                      <a:pt x="1243" y="51"/>
                      <a:pt x="1245" y="62"/>
                      <a:pt x="1245" y="68"/>
                    </a:cubicBezTo>
                    <a:close/>
                    <a:moveTo>
                      <a:pt x="1265" y="74"/>
                    </a:moveTo>
                    <a:cubicBezTo>
                      <a:pt x="1265" y="56"/>
                      <a:pt x="1258" y="36"/>
                      <a:pt x="1232" y="36"/>
                    </a:cubicBezTo>
                    <a:cubicBezTo>
                      <a:pt x="1210" y="36"/>
                      <a:pt x="1199" y="56"/>
                      <a:pt x="1199" y="76"/>
                    </a:cubicBezTo>
                    <a:cubicBezTo>
                      <a:pt x="1199" y="90"/>
                      <a:pt x="1204" y="115"/>
                      <a:pt x="1231" y="115"/>
                    </a:cubicBezTo>
                    <a:cubicBezTo>
                      <a:pt x="1251" y="115"/>
                      <a:pt x="1264" y="108"/>
                      <a:pt x="1264" y="108"/>
                    </a:cubicBezTo>
                    <a:lnTo>
                      <a:pt x="1263" y="92"/>
                    </a:lnTo>
                    <a:cubicBezTo>
                      <a:pt x="1263" y="92"/>
                      <a:pt x="1248" y="100"/>
                      <a:pt x="1234" y="100"/>
                    </a:cubicBezTo>
                    <a:cubicBezTo>
                      <a:pt x="1225" y="100"/>
                      <a:pt x="1221" y="94"/>
                      <a:pt x="1221" y="80"/>
                    </a:cubicBezTo>
                    <a:lnTo>
                      <a:pt x="1265" y="80"/>
                    </a:lnTo>
                    <a:cubicBezTo>
                      <a:pt x="1265" y="80"/>
                      <a:pt x="1265" y="76"/>
                      <a:pt x="1265" y="74"/>
                    </a:cubicBezTo>
                    <a:moveTo>
                      <a:pt x="1188" y="114"/>
                    </a:moveTo>
                    <a:lnTo>
                      <a:pt x="1188" y="95"/>
                    </a:lnTo>
                    <a:lnTo>
                      <a:pt x="1145" y="95"/>
                    </a:lnTo>
                    <a:lnTo>
                      <a:pt x="1145" y="11"/>
                    </a:lnTo>
                    <a:lnTo>
                      <a:pt x="1124" y="11"/>
                    </a:lnTo>
                    <a:lnTo>
                      <a:pt x="1124" y="114"/>
                    </a:lnTo>
                    <a:lnTo>
                      <a:pt x="1188" y="114"/>
                    </a:lnTo>
                    <a:close/>
                    <a:moveTo>
                      <a:pt x="1073" y="104"/>
                    </a:moveTo>
                    <a:cubicBezTo>
                      <a:pt x="1073" y="98"/>
                      <a:pt x="1069" y="92"/>
                      <a:pt x="1061" y="92"/>
                    </a:cubicBezTo>
                    <a:cubicBezTo>
                      <a:pt x="1053" y="92"/>
                      <a:pt x="1048" y="98"/>
                      <a:pt x="1048" y="104"/>
                    </a:cubicBezTo>
                    <a:cubicBezTo>
                      <a:pt x="1048" y="110"/>
                      <a:pt x="1053" y="116"/>
                      <a:pt x="1061" y="116"/>
                    </a:cubicBezTo>
                    <a:cubicBezTo>
                      <a:pt x="1069" y="116"/>
                      <a:pt x="1073" y="110"/>
                      <a:pt x="1073" y="104"/>
                    </a:cubicBezTo>
                    <a:close/>
                    <a:moveTo>
                      <a:pt x="1053" y="38"/>
                    </a:moveTo>
                    <a:cubicBezTo>
                      <a:pt x="1053" y="38"/>
                      <a:pt x="1052" y="37"/>
                      <a:pt x="1044" y="37"/>
                    </a:cubicBezTo>
                    <a:cubicBezTo>
                      <a:pt x="1038" y="37"/>
                      <a:pt x="1032" y="42"/>
                      <a:pt x="1029" y="45"/>
                    </a:cubicBezTo>
                    <a:cubicBezTo>
                      <a:pt x="1029" y="46"/>
                      <a:pt x="1028" y="47"/>
                      <a:pt x="1028" y="47"/>
                    </a:cubicBezTo>
                    <a:cubicBezTo>
                      <a:pt x="1028" y="43"/>
                      <a:pt x="1027" y="38"/>
                      <a:pt x="1027" y="38"/>
                    </a:cubicBezTo>
                    <a:lnTo>
                      <a:pt x="1007" y="38"/>
                    </a:lnTo>
                    <a:cubicBezTo>
                      <a:pt x="1007" y="38"/>
                      <a:pt x="1008" y="47"/>
                      <a:pt x="1008" y="56"/>
                    </a:cubicBezTo>
                    <a:lnTo>
                      <a:pt x="1008" y="114"/>
                    </a:lnTo>
                    <a:lnTo>
                      <a:pt x="1029" y="114"/>
                    </a:lnTo>
                    <a:lnTo>
                      <a:pt x="1029" y="60"/>
                    </a:lnTo>
                    <a:cubicBezTo>
                      <a:pt x="1034" y="56"/>
                      <a:pt x="1039" y="53"/>
                      <a:pt x="1041" y="53"/>
                    </a:cubicBezTo>
                    <a:cubicBezTo>
                      <a:pt x="1047" y="53"/>
                      <a:pt x="1051" y="54"/>
                      <a:pt x="1051" y="54"/>
                    </a:cubicBezTo>
                    <a:lnTo>
                      <a:pt x="1053" y="38"/>
                    </a:lnTo>
                    <a:close/>
                    <a:moveTo>
                      <a:pt x="970" y="68"/>
                    </a:moveTo>
                    <a:lnTo>
                      <a:pt x="946" y="68"/>
                    </a:lnTo>
                    <a:cubicBezTo>
                      <a:pt x="946" y="62"/>
                      <a:pt x="948" y="51"/>
                      <a:pt x="958" y="51"/>
                    </a:cubicBezTo>
                    <a:cubicBezTo>
                      <a:pt x="968" y="51"/>
                      <a:pt x="970" y="62"/>
                      <a:pt x="970" y="68"/>
                    </a:cubicBezTo>
                    <a:close/>
                    <a:moveTo>
                      <a:pt x="990" y="74"/>
                    </a:moveTo>
                    <a:cubicBezTo>
                      <a:pt x="990" y="56"/>
                      <a:pt x="983" y="36"/>
                      <a:pt x="958" y="36"/>
                    </a:cubicBezTo>
                    <a:cubicBezTo>
                      <a:pt x="935" y="36"/>
                      <a:pt x="925" y="56"/>
                      <a:pt x="925" y="76"/>
                    </a:cubicBezTo>
                    <a:cubicBezTo>
                      <a:pt x="925" y="90"/>
                      <a:pt x="929" y="115"/>
                      <a:pt x="956" y="115"/>
                    </a:cubicBezTo>
                    <a:cubicBezTo>
                      <a:pt x="977" y="115"/>
                      <a:pt x="989" y="108"/>
                      <a:pt x="989" y="108"/>
                    </a:cubicBezTo>
                    <a:lnTo>
                      <a:pt x="988" y="92"/>
                    </a:lnTo>
                    <a:cubicBezTo>
                      <a:pt x="988" y="92"/>
                      <a:pt x="974" y="100"/>
                      <a:pt x="960" y="100"/>
                    </a:cubicBezTo>
                    <a:cubicBezTo>
                      <a:pt x="951" y="100"/>
                      <a:pt x="946" y="94"/>
                      <a:pt x="946" y="80"/>
                    </a:cubicBezTo>
                    <a:lnTo>
                      <a:pt x="990" y="80"/>
                    </a:lnTo>
                    <a:cubicBezTo>
                      <a:pt x="990" y="80"/>
                      <a:pt x="990" y="76"/>
                      <a:pt x="990" y="74"/>
                    </a:cubicBezTo>
                    <a:moveTo>
                      <a:pt x="911" y="91"/>
                    </a:moveTo>
                    <a:cubicBezTo>
                      <a:pt x="911" y="73"/>
                      <a:pt x="894" y="70"/>
                      <a:pt x="882" y="64"/>
                    </a:cubicBezTo>
                    <a:cubicBezTo>
                      <a:pt x="879" y="63"/>
                      <a:pt x="876" y="61"/>
                      <a:pt x="876" y="58"/>
                    </a:cubicBezTo>
                    <a:cubicBezTo>
                      <a:pt x="876" y="56"/>
                      <a:pt x="878" y="52"/>
                      <a:pt x="884" y="52"/>
                    </a:cubicBezTo>
                    <a:cubicBezTo>
                      <a:pt x="894" y="52"/>
                      <a:pt x="906" y="57"/>
                      <a:pt x="906" y="57"/>
                    </a:cubicBezTo>
                    <a:lnTo>
                      <a:pt x="907" y="40"/>
                    </a:lnTo>
                    <a:cubicBezTo>
                      <a:pt x="907" y="40"/>
                      <a:pt x="897" y="36"/>
                      <a:pt x="885" y="36"/>
                    </a:cubicBezTo>
                    <a:cubicBezTo>
                      <a:pt x="870" y="36"/>
                      <a:pt x="857" y="44"/>
                      <a:pt x="857" y="60"/>
                    </a:cubicBezTo>
                    <a:cubicBezTo>
                      <a:pt x="857" y="77"/>
                      <a:pt x="874" y="80"/>
                      <a:pt x="885" y="85"/>
                    </a:cubicBezTo>
                    <a:cubicBezTo>
                      <a:pt x="889" y="87"/>
                      <a:pt x="892" y="89"/>
                      <a:pt x="892" y="92"/>
                    </a:cubicBezTo>
                    <a:cubicBezTo>
                      <a:pt x="892" y="96"/>
                      <a:pt x="888" y="99"/>
                      <a:pt x="883" y="99"/>
                    </a:cubicBezTo>
                    <a:cubicBezTo>
                      <a:pt x="872" y="99"/>
                      <a:pt x="857" y="91"/>
                      <a:pt x="857" y="91"/>
                    </a:cubicBezTo>
                    <a:lnTo>
                      <a:pt x="856" y="110"/>
                    </a:lnTo>
                    <a:cubicBezTo>
                      <a:pt x="856" y="110"/>
                      <a:pt x="869" y="116"/>
                      <a:pt x="883" y="116"/>
                    </a:cubicBezTo>
                    <a:cubicBezTo>
                      <a:pt x="898" y="116"/>
                      <a:pt x="911" y="108"/>
                      <a:pt x="911" y="91"/>
                    </a:cubicBezTo>
                    <a:close/>
                    <a:moveTo>
                      <a:pt x="843" y="91"/>
                    </a:moveTo>
                    <a:cubicBezTo>
                      <a:pt x="843" y="73"/>
                      <a:pt x="826" y="70"/>
                      <a:pt x="813" y="64"/>
                    </a:cubicBezTo>
                    <a:cubicBezTo>
                      <a:pt x="810" y="63"/>
                      <a:pt x="807" y="61"/>
                      <a:pt x="807" y="58"/>
                    </a:cubicBezTo>
                    <a:cubicBezTo>
                      <a:pt x="807" y="56"/>
                      <a:pt x="809" y="52"/>
                      <a:pt x="815" y="52"/>
                    </a:cubicBezTo>
                    <a:cubicBezTo>
                      <a:pt x="825" y="52"/>
                      <a:pt x="837" y="57"/>
                      <a:pt x="837" y="57"/>
                    </a:cubicBezTo>
                    <a:lnTo>
                      <a:pt x="838" y="40"/>
                    </a:lnTo>
                    <a:cubicBezTo>
                      <a:pt x="838" y="40"/>
                      <a:pt x="828" y="36"/>
                      <a:pt x="816" y="36"/>
                    </a:cubicBezTo>
                    <a:cubicBezTo>
                      <a:pt x="801" y="36"/>
                      <a:pt x="788" y="44"/>
                      <a:pt x="788" y="60"/>
                    </a:cubicBezTo>
                    <a:cubicBezTo>
                      <a:pt x="788" y="77"/>
                      <a:pt x="805" y="80"/>
                      <a:pt x="817" y="85"/>
                    </a:cubicBezTo>
                    <a:cubicBezTo>
                      <a:pt x="820" y="87"/>
                      <a:pt x="823" y="89"/>
                      <a:pt x="823" y="92"/>
                    </a:cubicBezTo>
                    <a:cubicBezTo>
                      <a:pt x="823" y="96"/>
                      <a:pt x="819" y="99"/>
                      <a:pt x="815" y="99"/>
                    </a:cubicBezTo>
                    <a:cubicBezTo>
                      <a:pt x="803" y="99"/>
                      <a:pt x="788" y="91"/>
                      <a:pt x="788" y="91"/>
                    </a:cubicBezTo>
                    <a:lnTo>
                      <a:pt x="787" y="110"/>
                    </a:lnTo>
                    <a:cubicBezTo>
                      <a:pt x="787" y="110"/>
                      <a:pt x="800" y="116"/>
                      <a:pt x="814" y="116"/>
                    </a:cubicBezTo>
                    <a:cubicBezTo>
                      <a:pt x="829" y="116"/>
                      <a:pt x="843" y="108"/>
                      <a:pt x="843" y="91"/>
                    </a:cubicBezTo>
                    <a:close/>
                    <a:moveTo>
                      <a:pt x="749" y="94"/>
                    </a:moveTo>
                    <a:cubicBezTo>
                      <a:pt x="747" y="96"/>
                      <a:pt x="742" y="100"/>
                      <a:pt x="736" y="100"/>
                    </a:cubicBezTo>
                    <a:cubicBezTo>
                      <a:pt x="731" y="100"/>
                      <a:pt x="729" y="95"/>
                      <a:pt x="729" y="91"/>
                    </a:cubicBezTo>
                    <a:cubicBezTo>
                      <a:pt x="729" y="89"/>
                      <a:pt x="730" y="87"/>
                      <a:pt x="732" y="85"/>
                    </a:cubicBezTo>
                    <a:cubicBezTo>
                      <a:pt x="736" y="81"/>
                      <a:pt x="746" y="80"/>
                      <a:pt x="749" y="80"/>
                    </a:cubicBezTo>
                    <a:lnTo>
                      <a:pt x="749" y="94"/>
                    </a:lnTo>
                    <a:close/>
                    <a:moveTo>
                      <a:pt x="771" y="114"/>
                    </a:moveTo>
                    <a:cubicBezTo>
                      <a:pt x="771" y="114"/>
                      <a:pt x="770" y="107"/>
                      <a:pt x="770" y="98"/>
                    </a:cubicBezTo>
                    <a:lnTo>
                      <a:pt x="770" y="62"/>
                    </a:lnTo>
                    <a:cubicBezTo>
                      <a:pt x="770" y="54"/>
                      <a:pt x="769" y="48"/>
                      <a:pt x="765" y="43"/>
                    </a:cubicBezTo>
                    <a:cubicBezTo>
                      <a:pt x="761" y="39"/>
                      <a:pt x="755" y="36"/>
                      <a:pt x="745" y="36"/>
                    </a:cubicBezTo>
                    <a:cubicBezTo>
                      <a:pt x="729" y="36"/>
                      <a:pt x="714" y="43"/>
                      <a:pt x="714" y="43"/>
                    </a:cubicBezTo>
                    <a:lnTo>
                      <a:pt x="715" y="59"/>
                    </a:lnTo>
                    <a:cubicBezTo>
                      <a:pt x="720" y="56"/>
                      <a:pt x="731" y="52"/>
                      <a:pt x="741" y="52"/>
                    </a:cubicBezTo>
                    <a:cubicBezTo>
                      <a:pt x="747" y="52"/>
                      <a:pt x="749" y="55"/>
                      <a:pt x="749" y="61"/>
                    </a:cubicBezTo>
                    <a:lnTo>
                      <a:pt x="749" y="69"/>
                    </a:lnTo>
                    <a:cubicBezTo>
                      <a:pt x="740" y="69"/>
                      <a:pt x="725" y="70"/>
                      <a:pt x="716" y="77"/>
                    </a:cubicBezTo>
                    <a:cubicBezTo>
                      <a:pt x="711" y="81"/>
                      <a:pt x="709" y="85"/>
                      <a:pt x="709" y="92"/>
                    </a:cubicBezTo>
                    <a:cubicBezTo>
                      <a:pt x="709" y="102"/>
                      <a:pt x="714" y="115"/>
                      <a:pt x="730" y="115"/>
                    </a:cubicBezTo>
                    <a:cubicBezTo>
                      <a:pt x="741" y="115"/>
                      <a:pt x="751" y="107"/>
                      <a:pt x="751" y="107"/>
                    </a:cubicBezTo>
                    <a:cubicBezTo>
                      <a:pt x="751" y="110"/>
                      <a:pt x="751" y="114"/>
                      <a:pt x="751" y="114"/>
                    </a:cubicBezTo>
                    <a:lnTo>
                      <a:pt x="771" y="114"/>
                    </a:lnTo>
                    <a:close/>
                    <a:moveTo>
                      <a:pt x="701" y="12"/>
                    </a:moveTo>
                    <a:lnTo>
                      <a:pt x="679" y="11"/>
                    </a:lnTo>
                    <a:lnTo>
                      <a:pt x="667" y="61"/>
                    </a:lnTo>
                    <a:cubicBezTo>
                      <a:pt x="665" y="68"/>
                      <a:pt x="663" y="83"/>
                      <a:pt x="662" y="86"/>
                    </a:cubicBezTo>
                    <a:cubicBezTo>
                      <a:pt x="662" y="83"/>
                      <a:pt x="659" y="68"/>
                      <a:pt x="658" y="61"/>
                    </a:cubicBezTo>
                    <a:lnTo>
                      <a:pt x="646" y="11"/>
                    </a:lnTo>
                    <a:lnTo>
                      <a:pt x="624" y="11"/>
                    </a:lnTo>
                    <a:lnTo>
                      <a:pt x="613" y="61"/>
                    </a:lnTo>
                    <a:cubicBezTo>
                      <a:pt x="611" y="68"/>
                      <a:pt x="609" y="82"/>
                      <a:pt x="608" y="85"/>
                    </a:cubicBezTo>
                    <a:cubicBezTo>
                      <a:pt x="608" y="82"/>
                      <a:pt x="605" y="68"/>
                      <a:pt x="604" y="61"/>
                    </a:cubicBezTo>
                    <a:lnTo>
                      <a:pt x="592" y="10"/>
                    </a:lnTo>
                    <a:lnTo>
                      <a:pt x="570" y="11"/>
                    </a:lnTo>
                    <a:lnTo>
                      <a:pt x="597" y="114"/>
                    </a:lnTo>
                    <a:lnTo>
                      <a:pt x="619" y="114"/>
                    </a:lnTo>
                    <a:lnTo>
                      <a:pt x="630" y="67"/>
                    </a:lnTo>
                    <a:cubicBezTo>
                      <a:pt x="631" y="59"/>
                      <a:pt x="635" y="40"/>
                      <a:pt x="635" y="40"/>
                    </a:cubicBezTo>
                    <a:cubicBezTo>
                      <a:pt x="635" y="40"/>
                      <a:pt x="638" y="59"/>
                      <a:pt x="640" y="67"/>
                    </a:cubicBezTo>
                    <a:lnTo>
                      <a:pt x="650" y="114"/>
                    </a:lnTo>
                    <a:lnTo>
                      <a:pt x="673" y="114"/>
                    </a:lnTo>
                    <a:lnTo>
                      <a:pt x="701" y="12"/>
                    </a:lnTo>
                    <a:close/>
                    <a:moveTo>
                      <a:pt x="537" y="104"/>
                    </a:moveTo>
                    <a:cubicBezTo>
                      <a:pt x="537" y="98"/>
                      <a:pt x="533" y="92"/>
                      <a:pt x="525" y="92"/>
                    </a:cubicBezTo>
                    <a:cubicBezTo>
                      <a:pt x="516" y="92"/>
                      <a:pt x="512" y="98"/>
                      <a:pt x="512" y="104"/>
                    </a:cubicBezTo>
                    <a:cubicBezTo>
                      <a:pt x="512" y="110"/>
                      <a:pt x="516" y="116"/>
                      <a:pt x="525" y="116"/>
                    </a:cubicBezTo>
                    <a:cubicBezTo>
                      <a:pt x="533" y="116"/>
                      <a:pt x="537" y="110"/>
                      <a:pt x="537" y="104"/>
                    </a:cubicBezTo>
                    <a:close/>
                    <a:moveTo>
                      <a:pt x="476" y="68"/>
                    </a:moveTo>
                    <a:lnTo>
                      <a:pt x="452" y="68"/>
                    </a:lnTo>
                    <a:cubicBezTo>
                      <a:pt x="452" y="62"/>
                      <a:pt x="454" y="51"/>
                      <a:pt x="464" y="51"/>
                    </a:cubicBezTo>
                    <a:cubicBezTo>
                      <a:pt x="474" y="51"/>
                      <a:pt x="476" y="62"/>
                      <a:pt x="476" y="68"/>
                    </a:cubicBezTo>
                    <a:moveTo>
                      <a:pt x="496" y="74"/>
                    </a:moveTo>
                    <a:cubicBezTo>
                      <a:pt x="496" y="56"/>
                      <a:pt x="489" y="36"/>
                      <a:pt x="464" y="36"/>
                    </a:cubicBezTo>
                    <a:cubicBezTo>
                      <a:pt x="441" y="36"/>
                      <a:pt x="431" y="56"/>
                      <a:pt x="431" y="76"/>
                    </a:cubicBezTo>
                    <a:cubicBezTo>
                      <a:pt x="431" y="90"/>
                      <a:pt x="435" y="115"/>
                      <a:pt x="462" y="115"/>
                    </a:cubicBezTo>
                    <a:cubicBezTo>
                      <a:pt x="483" y="115"/>
                      <a:pt x="495" y="108"/>
                      <a:pt x="495" y="108"/>
                    </a:cubicBezTo>
                    <a:lnTo>
                      <a:pt x="494" y="92"/>
                    </a:lnTo>
                    <a:cubicBezTo>
                      <a:pt x="494" y="92"/>
                      <a:pt x="480" y="100"/>
                      <a:pt x="466" y="100"/>
                    </a:cubicBezTo>
                    <a:cubicBezTo>
                      <a:pt x="457" y="100"/>
                      <a:pt x="452" y="94"/>
                      <a:pt x="452" y="80"/>
                    </a:cubicBezTo>
                    <a:lnTo>
                      <a:pt x="496" y="80"/>
                    </a:lnTo>
                    <a:cubicBezTo>
                      <a:pt x="496" y="80"/>
                      <a:pt x="496" y="76"/>
                      <a:pt x="496" y="74"/>
                    </a:cubicBezTo>
                    <a:moveTo>
                      <a:pt x="413" y="114"/>
                    </a:moveTo>
                    <a:lnTo>
                      <a:pt x="413" y="54"/>
                    </a:lnTo>
                    <a:cubicBezTo>
                      <a:pt x="413" y="48"/>
                      <a:pt x="412" y="38"/>
                      <a:pt x="412" y="38"/>
                    </a:cubicBezTo>
                    <a:lnTo>
                      <a:pt x="393" y="38"/>
                    </a:lnTo>
                    <a:lnTo>
                      <a:pt x="393" y="114"/>
                    </a:lnTo>
                    <a:lnTo>
                      <a:pt x="413" y="114"/>
                    </a:lnTo>
                    <a:close/>
                    <a:moveTo>
                      <a:pt x="416" y="12"/>
                    </a:moveTo>
                    <a:cubicBezTo>
                      <a:pt x="416" y="6"/>
                      <a:pt x="411" y="0"/>
                      <a:pt x="403" y="0"/>
                    </a:cubicBezTo>
                    <a:cubicBezTo>
                      <a:pt x="395" y="0"/>
                      <a:pt x="391" y="6"/>
                      <a:pt x="391" y="12"/>
                    </a:cubicBezTo>
                    <a:cubicBezTo>
                      <a:pt x="391" y="18"/>
                      <a:pt x="395" y="24"/>
                      <a:pt x="403" y="24"/>
                    </a:cubicBezTo>
                    <a:cubicBezTo>
                      <a:pt x="411" y="24"/>
                      <a:pt x="416" y="18"/>
                      <a:pt x="416" y="12"/>
                    </a:cubicBezTo>
                    <a:close/>
                    <a:moveTo>
                      <a:pt x="353" y="88"/>
                    </a:moveTo>
                    <a:cubicBezTo>
                      <a:pt x="347" y="95"/>
                      <a:pt x="341" y="97"/>
                      <a:pt x="337" y="97"/>
                    </a:cubicBezTo>
                    <a:cubicBezTo>
                      <a:pt x="328" y="97"/>
                      <a:pt x="326" y="83"/>
                      <a:pt x="326" y="75"/>
                    </a:cubicBezTo>
                    <a:cubicBezTo>
                      <a:pt x="326" y="66"/>
                      <a:pt x="327" y="53"/>
                      <a:pt x="339" y="53"/>
                    </a:cubicBezTo>
                    <a:cubicBezTo>
                      <a:pt x="343" y="53"/>
                      <a:pt x="347" y="54"/>
                      <a:pt x="353" y="57"/>
                    </a:cubicBezTo>
                    <a:lnTo>
                      <a:pt x="353" y="88"/>
                    </a:lnTo>
                    <a:close/>
                    <a:moveTo>
                      <a:pt x="375" y="38"/>
                    </a:moveTo>
                    <a:lnTo>
                      <a:pt x="355" y="38"/>
                    </a:lnTo>
                    <a:cubicBezTo>
                      <a:pt x="355" y="38"/>
                      <a:pt x="354" y="40"/>
                      <a:pt x="354" y="42"/>
                    </a:cubicBezTo>
                    <a:cubicBezTo>
                      <a:pt x="352" y="41"/>
                      <a:pt x="345" y="36"/>
                      <a:pt x="336" y="36"/>
                    </a:cubicBezTo>
                    <a:cubicBezTo>
                      <a:pt x="315" y="36"/>
                      <a:pt x="305" y="53"/>
                      <a:pt x="305" y="75"/>
                    </a:cubicBezTo>
                    <a:cubicBezTo>
                      <a:pt x="305" y="90"/>
                      <a:pt x="310" y="114"/>
                      <a:pt x="332" y="114"/>
                    </a:cubicBezTo>
                    <a:cubicBezTo>
                      <a:pt x="344" y="114"/>
                      <a:pt x="352" y="105"/>
                      <a:pt x="353" y="103"/>
                    </a:cubicBezTo>
                    <a:cubicBezTo>
                      <a:pt x="353" y="103"/>
                      <a:pt x="353" y="108"/>
                      <a:pt x="353" y="110"/>
                    </a:cubicBezTo>
                    <a:lnTo>
                      <a:pt x="353" y="115"/>
                    </a:lnTo>
                    <a:cubicBezTo>
                      <a:pt x="353" y="117"/>
                      <a:pt x="353" y="119"/>
                      <a:pt x="352" y="121"/>
                    </a:cubicBezTo>
                    <a:cubicBezTo>
                      <a:pt x="351" y="125"/>
                      <a:pt x="347" y="128"/>
                      <a:pt x="338" y="128"/>
                    </a:cubicBezTo>
                    <a:cubicBezTo>
                      <a:pt x="323" y="128"/>
                      <a:pt x="310" y="122"/>
                      <a:pt x="310" y="122"/>
                    </a:cubicBezTo>
                    <a:lnTo>
                      <a:pt x="309" y="140"/>
                    </a:lnTo>
                    <a:cubicBezTo>
                      <a:pt x="309" y="140"/>
                      <a:pt x="320" y="146"/>
                      <a:pt x="338" y="146"/>
                    </a:cubicBezTo>
                    <a:cubicBezTo>
                      <a:pt x="357" y="146"/>
                      <a:pt x="369" y="139"/>
                      <a:pt x="373" y="125"/>
                    </a:cubicBezTo>
                    <a:cubicBezTo>
                      <a:pt x="373" y="122"/>
                      <a:pt x="373" y="116"/>
                      <a:pt x="373" y="112"/>
                    </a:cubicBezTo>
                    <a:lnTo>
                      <a:pt x="373" y="56"/>
                    </a:lnTo>
                    <a:cubicBezTo>
                      <a:pt x="373" y="47"/>
                      <a:pt x="375" y="38"/>
                      <a:pt x="375" y="38"/>
                    </a:cubicBezTo>
                    <a:moveTo>
                      <a:pt x="294" y="38"/>
                    </a:moveTo>
                    <a:cubicBezTo>
                      <a:pt x="294" y="38"/>
                      <a:pt x="293" y="37"/>
                      <a:pt x="285" y="37"/>
                    </a:cubicBezTo>
                    <a:cubicBezTo>
                      <a:pt x="279" y="37"/>
                      <a:pt x="273" y="42"/>
                      <a:pt x="270" y="45"/>
                    </a:cubicBezTo>
                    <a:cubicBezTo>
                      <a:pt x="270" y="46"/>
                      <a:pt x="269" y="47"/>
                      <a:pt x="269" y="47"/>
                    </a:cubicBezTo>
                    <a:cubicBezTo>
                      <a:pt x="269" y="43"/>
                      <a:pt x="268" y="38"/>
                      <a:pt x="268" y="38"/>
                    </a:cubicBezTo>
                    <a:lnTo>
                      <a:pt x="248" y="38"/>
                    </a:lnTo>
                    <a:cubicBezTo>
                      <a:pt x="248" y="38"/>
                      <a:pt x="249" y="47"/>
                      <a:pt x="249" y="56"/>
                    </a:cubicBezTo>
                    <a:lnTo>
                      <a:pt x="249" y="114"/>
                    </a:lnTo>
                    <a:lnTo>
                      <a:pt x="270" y="114"/>
                    </a:lnTo>
                    <a:lnTo>
                      <a:pt x="270" y="60"/>
                    </a:lnTo>
                    <a:cubicBezTo>
                      <a:pt x="275" y="56"/>
                      <a:pt x="279" y="53"/>
                      <a:pt x="282" y="53"/>
                    </a:cubicBezTo>
                    <a:cubicBezTo>
                      <a:pt x="288" y="53"/>
                      <a:pt x="292" y="54"/>
                      <a:pt x="292" y="54"/>
                    </a:cubicBezTo>
                    <a:lnTo>
                      <a:pt x="294" y="38"/>
                    </a:lnTo>
                    <a:close/>
                    <a:moveTo>
                      <a:pt x="211" y="68"/>
                    </a:moveTo>
                    <a:lnTo>
                      <a:pt x="187" y="68"/>
                    </a:lnTo>
                    <a:cubicBezTo>
                      <a:pt x="187" y="62"/>
                      <a:pt x="189" y="51"/>
                      <a:pt x="198" y="51"/>
                    </a:cubicBezTo>
                    <a:cubicBezTo>
                      <a:pt x="209" y="51"/>
                      <a:pt x="211" y="62"/>
                      <a:pt x="211" y="68"/>
                    </a:cubicBezTo>
                    <a:moveTo>
                      <a:pt x="231" y="74"/>
                    </a:moveTo>
                    <a:cubicBezTo>
                      <a:pt x="231" y="56"/>
                      <a:pt x="224" y="36"/>
                      <a:pt x="198" y="36"/>
                    </a:cubicBezTo>
                    <a:cubicBezTo>
                      <a:pt x="176" y="36"/>
                      <a:pt x="165" y="56"/>
                      <a:pt x="165" y="76"/>
                    </a:cubicBezTo>
                    <a:cubicBezTo>
                      <a:pt x="165" y="90"/>
                      <a:pt x="170" y="115"/>
                      <a:pt x="197" y="115"/>
                    </a:cubicBezTo>
                    <a:cubicBezTo>
                      <a:pt x="218" y="115"/>
                      <a:pt x="230" y="108"/>
                      <a:pt x="230" y="108"/>
                    </a:cubicBezTo>
                    <a:lnTo>
                      <a:pt x="229" y="92"/>
                    </a:lnTo>
                    <a:cubicBezTo>
                      <a:pt x="229" y="92"/>
                      <a:pt x="214" y="100"/>
                      <a:pt x="200" y="100"/>
                    </a:cubicBezTo>
                    <a:cubicBezTo>
                      <a:pt x="191" y="100"/>
                      <a:pt x="187" y="94"/>
                      <a:pt x="187" y="80"/>
                    </a:cubicBezTo>
                    <a:lnTo>
                      <a:pt x="231" y="80"/>
                    </a:lnTo>
                    <a:cubicBezTo>
                      <a:pt x="231" y="80"/>
                      <a:pt x="231" y="76"/>
                      <a:pt x="231" y="74"/>
                    </a:cubicBezTo>
                    <a:moveTo>
                      <a:pt x="148" y="114"/>
                    </a:moveTo>
                    <a:lnTo>
                      <a:pt x="148" y="62"/>
                    </a:lnTo>
                    <a:cubicBezTo>
                      <a:pt x="148" y="55"/>
                      <a:pt x="147" y="49"/>
                      <a:pt x="144" y="45"/>
                    </a:cubicBezTo>
                    <a:cubicBezTo>
                      <a:pt x="141" y="39"/>
                      <a:pt x="135" y="36"/>
                      <a:pt x="126" y="36"/>
                    </a:cubicBezTo>
                    <a:cubicBezTo>
                      <a:pt x="115" y="36"/>
                      <a:pt x="104" y="45"/>
                      <a:pt x="101" y="48"/>
                    </a:cubicBezTo>
                    <a:cubicBezTo>
                      <a:pt x="101" y="43"/>
                      <a:pt x="101" y="38"/>
                      <a:pt x="101" y="38"/>
                    </a:cubicBezTo>
                    <a:lnTo>
                      <a:pt x="81" y="38"/>
                    </a:lnTo>
                    <a:cubicBezTo>
                      <a:pt x="81" y="38"/>
                      <a:pt x="82" y="47"/>
                      <a:pt x="82" y="56"/>
                    </a:cubicBezTo>
                    <a:lnTo>
                      <a:pt x="82" y="114"/>
                    </a:lnTo>
                    <a:lnTo>
                      <a:pt x="102" y="114"/>
                    </a:lnTo>
                    <a:lnTo>
                      <a:pt x="102" y="62"/>
                    </a:lnTo>
                    <a:cubicBezTo>
                      <a:pt x="105" y="59"/>
                      <a:pt x="112" y="54"/>
                      <a:pt x="119" y="54"/>
                    </a:cubicBezTo>
                    <a:cubicBezTo>
                      <a:pt x="124" y="54"/>
                      <a:pt x="128" y="55"/>
                      <a:pt x="128" y="64"/>
                    </a:cubicBezTo>
                    <a:lnTo>
                      <a:pt x="128" y="114"/>
                    </a:lnTo>
                    <a:lnTo>
                      <a:pt x="148" y="114"/>
                    </a:lnTo>
                    <a:close/>
                    <a:moveTo>
                      <a:pt x="66" y="114"/>
                    </a:moveTo>
                    <a:lnTo>
                      <a:pt x="66" y="96"/>
                    </a:lnTo>
                    <a:lnTo>
                      <a:pt x="21" y="96"/>
                    </a:lnTo>
                    <a:lnTo>
                      <a:pt x="21" y="69"/>
                    </a:lnTo>
                    <a:lnTo>
                      <a:pt x="57" y="69"/>
                    </a:lnTo>
                    <a:lnTo>
                      <a:pt x="57" y="52"/>
                    </a:lnTo>
                    <a:lnTo>
                      <a:pt x="21" y="52"/>
                    </a:lnTo>
                    <a:lnTo>
                      <a:pt x="21" y="29"/>
                    </a:lnTo>
                    <a:lnTo>
                      <a:pt x="62" y="29"/>
                    </a:lnTo>
                    <a:lnTo>
                      <a:pt x="64" y="11"/>
                    </a:lnTo>
                    <a:lnTo>
                      <a:pt x="0" y="11"/>
                    </a:lnTo>
                    <a:lnTo>
                      <a:pt x="0" y="114"/>
                    </a:lnTo>
                    <a:lnTo>
                      <a:pt x="66" y="11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9" name="Freeform 39">
                <a:extLst>
                  <a:ext uri="{FF2B5EF4-FFF2-40B4-BE49-F238E27FC236}">
                    <a16:creationId xmlns:a16="http://schemas.microsoft.com/office/drawing/2014/main" id="{FA07E67C-99BB-4E7F-8A73-DB182A30F3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29374" y="990263"/>
                <a:ext cx="354012" cy="273050"/>
              </a:xfrm>
              <a:custGeom>
                <a:avLst/>
                <a:gdLst>
                  <a:gd name="T0" fmla="*/ 0 w 443"/>
                  <a:gd name="T1" fmla="*/ 0 h 341"/>
                  <a:gd name="T2" fmla="*/ 0 w 443"/>
                  <a:gd name="T3" fmla="*/ 217 h 341"/>
                  <a:gd name="T4" fmla="*/ 131 w 443"/>
                  <a:gd name="T5" fmla="*/ 341 h 341"/>
                  <a:gd name="T6" fmla="*/ 222 w 443"/>
                  <a:gd name="T7" fmla="*/ 300 h 341"/>
                  <a:gd name="T8" fmla="*/ 313 w 443"/>
                  <a:gd name="T9" fmla="*/ 341 h 341"/>
                  <a:gd name="T10" fmla="*/ 443 w 443"/>
                  <a:gd name="T11" fmla="*/ 217 h 341"/>
                  <a:gd name="T12" fmla="*/ 443 w 443"/>
                  <a:gd name="T13" fmla="*/ 0 h 341"/>
                  <a:gd name="T14" fmla="*/ 365 w 443"/>
                  <a:gd name="T15" fmla="*/ 0 h 341"/>
                  <a:gd name="T16" fmla="*/ 365 w 443"/>
                  <a:gd name="T17" fmla="*/ 219 h 341"/>
                  <a:gd name="T18" fmla="*/ 313 w 443"/>
                  <a:gd name="T19" fmla="*/ 268 h 341"/>
                  <a:gd name="T20" fmla="*/ 261 w 443"/>
                  <a:gd name="T21" fmla="*/ 219 h 341"/>
                  <a:gd name="T22" fmla="*/ 261 w 443"/>
                  <a:gd name="T23" fmla="*/ 0 h 341"/>
                  <a:gd name="T24" fmla="*/ 183 w 443"/>
                  <a:gd name="T25" fmla="*/ 0 h 341"/>
                  <a:gd name="T26" fmla="*/ 183 w 443"/>
                  <a:gd name="T27" fmla="*/ 219 h 341"/>
                  <a:gd name="T28" fmla="*/ 131 w 443"/>
                  <a:gd name="T29" fmla="*/ 268 h 341"/>
                  <a:gd name="T30" fmla="*/ 79 w 443"/>
                  <a:gd name="T31" fmla="*/ 219 h 341"/>
                  <a:gd name="T32" fmla="*/ 79 w 443"/>
                  <a:gd name="T33" fmla="*/ 0 h 341"/>
                  <a:gd name="T34" fmla="*/ 0 w 443"/>
                  <a:gd name="T35" fmla="*/ 0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43" h="341">
                    <a:moveTo>
                      <a:pt x="0" y="0"/>
                    </a:moveTo>
                    <a:lnTo>
                      <a:pt x="0" y="217"/>
                    </a:lnTo>
                    <a:cubicBezTo>
                      <a:pt x="0" y="285"/>
                      <a:pt x="59" y="341"/>
                      <a:pt x="131" y="341"/>
                    </a:cubicBezTo>
                    <a:cubicBezTo>
                      <a:pt x="165" y="341"/>
                      <a:pt x="205" y="322"/>
                      <a:pt x="222" y="300"/>
                    </a:cubicBezTo>
                    <a:cubicBezTo>
                      <a:pt x="239" y="322"/>
                      <a:pt x="279" y="341"/>
                      <a:pt x="313" y="341"/>
                    </a:cubicBezTo>
                    <a:cubicBezTo>
                      <a:pt x="385" y="341"/>
                      <a:pt x="443" y="285"/>
                      <a:pt x="443" y="217"/>
                    </a:cubicBezTo>
                    <a:lnTo>
                      <a:pt x="443" y="0"/>
                    </a:lnTo>
                    <a:lnTo>
                      <a:pt x="365" y="0"/>
                    </a:lnTo>
                    <a:lnTo>
                      <a:pt x="365" y="219"/>
                    </a:lnTo>
                    <a:cubicBezTo>
                      <a:pt x="365" y="246"/>
                      <a:pt x="342" y="268"/>
                      <a:pt x="313" y="268"/>
                    </a:cubicBezTo>
                    <a:cubicBezTo>
                      <a:pt x="285" y="268"/>
                      <a:pt x="261" y="246"/>
                      <a:pt x="261" y="219"/>
                    </a:cubicBezTo>
                    <a:lnTo>
                      <a:pt x="261" y="0"/>
                    </a:lnTo>
                    <a:lnTo>
                      <a:pt x="183" y="0"/>
                    </a:lnTo>
                    <a:lnTo>
                      <a:pt x="183" y="219"/>
                    </a:lnTo>
                    <a:cubicBezTo>
                      <a:pt x="183" y="246"/>
                      <a:pt x="159" y="268"/>
                      <a:pt x="131" y="268"/>
                    </a:cubicBezTo>
                    <a:cubicBezTo>
                      <a:pt x="102" y="268"/>
                      <a:pt x="79" y="246"/>
                      <a:pt x="79" y="219"/>
                    </a:cubicBezTo>
                    <a:lnTo>
                      <a:pt x="7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0" name="Freeform 40">
                <a:extLst>
                  <a:ext uri="{FF2B5EF4-FFF2-40B4-BE49-F238E27FC236}">
                    <a16:creationId xmlns:a16="http://schemas.microsoft.com/office/drawing/2014/main" id="{7A95D535-94D8-4215-BF42-F9FFF9F401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130924" y="982325"/>
                <a:ext cx="276225" cy="277813"/>
              </a:xfrm>
              <a:custGeom>
                <a:avLst/>
                <a:gdLst>
                  <a:gd name="T0" fmla="*/ 345 w 347"/>
                  <a:gd name="T1" fmla="*/ 199 h 348"/>
                  <a:gd name="T2" fmla="*/ 347 w 347"/>
                  <a:gd name="T3" fmla="*/ 174 h 348"/>
                  <a:gd name="T4" fmla="*/ 174 w 347"/>
                  <a:gd name="T5" fmla="*/ 0 h 348"/>
                  <a:gd name="T6" fmla="*/ 0 w 347"/>
                  <a:gd name="T7" fmla="*/ 174 h 348"/>
                  <a:gd name="T8" fmla="*/ 174 w 347"/>
                  <a:gd name="T9" fmla="*/ 348 h 348"/>
                  <a:gd name="T10" fmla="*/ 336 w 347"/>
                  <a:gd name="T11" fmla="*/ 237 h 348"/>
                  <a:gd name="T12" fmla="*/ 254 w 347"/>
                  <a:gd name="T13" fmla="*/ 237 h 348"/>
                  <a:gd name="T14" fmla="*/ 174 w 347"/>
                  <a:gd name="T15" fmla="*/ 276 h 348"/>
                  <a:gd name="T16" fmla="*/ 71 w 347"/>
                  <a:gd name="T17" fmla="*/ 174 h 348"/>
                  <a:gd name="T18" fmla="*/ 174 w 347"/>
                  <a:gd name="T19" fmla="*/ 71 h 348"/>
                  <a:gd name="T20" fmla="*/ 265 w 347"/>
                  <a:gd name="T21" fmla="*/ 128 h 348"/>
                  <a:gd name="T22" fmla="*/ 141 w 347"/>
                  <a:gd name="T23" fmla="*/ 128 h 348"/>
                  <a:gd name="T24" fmla="*/ 141 w 347"/>
                  <a:gd name="T25" fmla="*/ 199 h 348"/>
                  <a:gd name="T26" fmla="*/ 345 w 347"/>
                  <a:gd name="T27" fmla="*/ 199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47" h="348">
                    <a:moveTo>
                      <a:pt x="345" y="199"/>
                    </a:moveTo>
                    <a:cubicBezTo>
                      <a:pt x="347" y="191"/>
                      <a:pt x="347" y="183"/>
                      <a:pt x="347" y="174"/>
                    </a:cubicBezTo>
                    <a:cubicBezTo>
                      <a:pt x="347" y="78"/>
                      <a:pt x="270" y="0"/>
                      <a:pt x="174" y="0"/>
                    </a:cubicBezTo>
                    <a:cubicBezTo>
                      <a:pt x="78" y="0"/>
                      <a:pt x="0" y="78"/>
                      <a:pt x="0" y="174"/>
                    </a:cubicBezTo>
                    <a:cubicBezTo>
                      <a:pt x="0" y="270"/>
                      <a:pt x="78" y="348"/>
                      <a:pt x="174" y="348"/>
                    </a:cubicBezTo>
                    <a:cubicBezTo>
                      <a:pt x="248" y="348"/>
                      <a:pt x="310" y="301"/>
                      <a:pt x="336" y="237"/>
                    </a:cubicBezTo>
                    <a:lnTo>
                      <a:pt x="254" y="237"/>
                    </a:lnTo>
                    <a:cubicBezTo>
                      <a:pt x="235" y="260"/>
                      <a:pt x="206" y="276"/>
                      <a:pt x="174" y="276"/>
                    </a:cubicBezTo>
                    <a:cubicBezTo>
                      <a:pt x="117" y="276"/>
                      <a:pt x="71" y="230"/>
                      <a:pt x="71" y="174"/>
                    </a:cubicBezTo>
                    <a:cubicBezTo>
                      <a:pt x="71" y="117"/>
                      <a:pt x="117" y="71"/>
                      <a:pt x="174" y="71"/>
                    </a:cubicBezTo>
                    <a:cubicBezTo>
                      <a:pt x="214" y="71"/>
                      <a:pt x="248" y="95"/>
                      <a:pt x="265" y="128"/>
                    </a:cubicBezTo>
                    <a:lnTo>
                      <a:pt x="141" y="128"/>
                    </a:lnTo>
                    <a:lnTo>
                      <a:pt x="141" y="199"/>
                    </a:lnTo>
                    <a:lnTo>
                      <a:pt x="345" y="19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" name="Freeform 41">
                <a:extLst>
                  <a:ext uri="{FF2B5EF4-FFF2-40B4-BE49-F238E27FC236}">
                    <a16:creationId xmlns:a16="http://schemas.microsoft.com/office/drawing/2014/main" id="{D1B7050F-36DF-43DD-9B45-B743042BD4B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34061" y="868025"/>
                <a:ext cx="276225" cy="395288"/>
              </a:xfrm>
              <a:custGeom>
                <a:avLst/>
                <a:gdLst>
                  <a:gd name="T0" fmla="*/ 273 w 347"/>
                  <a:gd name="T1" fmla="*/ 0 h 496"/>
                  <a:gd name="T2" fmla="*/ 273 w 347"/>
                  <a:gd name="T3" fmla="*/ 184 h 496"/>
                  <a:gd name="T4" fmla="*/ 173 w 347"/>
                  <a:gd name="T5" fmla="*/ 150 h 496"/>
                  <a:gd name="T6" fmla="*/ 0 w 347"/>
                  <a:gd name="T7" fmla="*/ 323 h 496"/>
                  <a:gd name="T8" fmla="*/ 173 w 347"/>
                  <a:gd name="T9" fmla="*/ 496 h 496"/>
                  <a:gd name="T10" fmla="*/ 273 w 347"/>
                  <a:gd name="T11" fmla="*/ 463 h 496"/>
                  <a:gd name="T12" fmla="*/ 273 w 347"/>
                  <a:gd name="T13" fmla="*/ 492 h 496"/>
                  <a:gd name="T14" fmla="*/ 347 w 347"/>
                  <a:gd name="T15" fmla="*/ 492 h 496"/>
                  <a:gd name="T16" fmla="*/ 347 w 347"/>
                  <a:gd name="T17" fmla="*/ 0 h 496"/>
                  <a:gd name="T18" fmla="*/ 273 w 347"/>
                  <a:gd name="T19" fmla="*/ 0 h 496"/>
                  <a:gd name="T20" fmla="*/ 196 w 347"/>
                  <a:gd name="T21" fmla="*/ 421 h 496"/>
                  <a:gd name="T22" fmla="*/ 173 w 347"/>
                  <a:gd name="T23" fmla="*/ 425 h 496"/>
                  <a:gd name="T24" fmla="*/ 134 w 347"/>
                  <a:gd name="T25" fmla="*/ 416 h 496"/>
                  <a:gd name="T26" fmla="*/ 71 w 347"/>
                  <a:gd name="T27" fmla="*/ 321 h 496"/>
                  <a:gd name="T28" fmla="*/ 173 w 347"/>
                  <a:gd name="T29" fmla="*/ 219 h 496"/>
                  <a:gd name="T30" fmla="*/ 276 w 347"/>
                  <a:gd name="T31" fmla="*/ 321 h 496"/>
                  <a:gd name="T32" fmla="*/ 196 w 347"/>
                  <a:gd name="T33" fmla="*/ 421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7" h="496">
                    <a:moveTo>
                      <a:pt x="273" y="0"/>
                    </a:moveTo>
                    <a:lnTo>
                      <a:pt x="273" y="184"/>
                    </a:lnTo>
                    <a:cubicBezTo>
                      <a:pt x="245" y="163"/>
                      <a:pt x="211" y="150"/>
                      <a:pt x="173" y="150"/>
                    </a:cubicBezTo>
                    <a:cubicBezTo>
                      <a:pt x="77" y="150"/>
                      <a:pt x="0" y="227"/>
                      <a:pt x="0" y="323"/>
                    </a:cubicBezTo>
                    <a:cubicBezTo>
                      <a:pt x="0" y="418"/>
                      <a:pt x="77" y="496"/>
                      <a:pt x="173" y="496"/>
                    </a:cubicBezTo>
                    <a:cubicBezTo>
                      <a:pt x="211" y="496"/>
                      <a:pt x="245" y="484"/>
                      <a:pt x="273" y="463"/>
                    </a:cubicBezTo>
                    <a:lnTo>
                      <a:pt x="273" y="492"/>
                    </a:lnTo>
                    <a:lnTo>
                      <a:pt x="347" y="492"/>
                    </a:lnTo>
                    <a:lnTo>
                      <a:pt x="347" y="0"/>
                    </a:lnTo>
                    <a:lnTo>
                      <a:pt x="273" y="0"/>
                    </a:lnTo>
                    <a:close/>
                    <a:moveTo>
                      <a:pt x="196" y="421"/>
                    </a:moveTo>
                    <a:cubicBezTo>
                      <a:pt x="189" y="423"/>
                      <a:pt x="181" y="425"/>
                      <a:pt x="173" y="425"/>
                    </a:cubicBezTo>
                    <a:cubicBezTo>
                      <a:pt x="159" y="425"/>
                      <a:pt x="146" y="421"/>
                      <a:pt x="134" y="416"/>
                    </a:cubicBezTo>
                    <a:cubicBezTo>
                      <a:pt x="97" y="401"/>
                      <a:pt x="71" y="364"/>
                      <a:pt x="71" y="321"/>
                    </a:cubicBezTo>
                    <a:cubicBezTo>
                      <a:pt x="71" y="265"/>
                      <a:pt x="117" y="219"/>
                      <a:pt x="173" y="219"/>
                    </a:cubicBezTo>
                    <a:cubicBezTo>
                      <a:pt x="230" y="219"/>
                      <a:pt x="276" y="265"/>
                      <a:pt x="276" y="321"/>
                    </a:cubicBezTo>
                    <a:cubicBezTo>
                      <a:pt x="276" y="370"/>
                      <a:pt x="242" y="411"/>
                      <a:pt x="196" y="42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2" name="Freeform 42">
                <a:extLst>
                  <a:ext uri="{FF2B5EF4-FFF2-40B4-BE49-F238E27FC236}">
                    <a16:creationId xmlns:a16="http://schemas.microsoft.com/office/drawing/2014/main" id="{7ED9D302-9A04-4ACB-B3DC-CB6FDC4CAC3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38786" y="868025"/>
                <a:ext cx="277812" cy="395288"/>
              </a:xfrm>
              <a:custGeom>
                <a:avLst/>
                <a:gdLst>
                  <a:gd name="T0" fmla="*/ 175 w 348"/>
                  <a:gd name="T1" fmla="*/ 150 h 496"/>
                  <a:gd name="T2" fmla="*/ 75 w 348"/>
                  <a:gd name="T3" fmla="*/ 184 h 496"/>
                  <a:gd name="T4" fmla="*/ 75 w 348"/>
                  <a:gd name="T5" fmla="*/ 0 h 496"/>
                  <a:gd name="T6" fmla="*/ 0 w 348"/>
                  <a:gd name="T7" fmla="*/ 0 h 496"/>
                  <a:gd name="T8" fmla="*/ 0 w 348"/>
                  <a:gd name="T9" fmla="*/ 492 h 496"/>
                  <a:gd name="T10" fmla="*/ 75 w 348"/>
                  <a:gd name="T11" fmla="*/ 492 h 496"/>
                  <a:gd name="T12" fmla="*/ 75 w 348"/>
                  <a:gd name="T13" fmla="*/ 463 h 496"/>
                  <a:gd name="T14" fmla="*/ 175 w 348"/>
                  <a:gd name="T15" fmla="*/ 496 h 496"/>
                  <a:gd name="T16" fmla="*/ 348 w 348"/>
                  <a:gd name="T17" fmla="*/ 323 h 496"/>
                  <a:gd name="T18" fmla="*/ 175 w 348"/>
                  <a:gd name="T19" fmla="*/ 150 h 496"/>
                  <a:gd name="T20" fmla="*/ 214 w 348"/>
                  <a:gd name="T21" fmla="*/ 416 h 496"/>
                  <a:gd name="T22" fmla="*/ 175 w 348"/>
                  <a:gd name="T23" fmla="*/ 425 h 496"/>
                  <a:gd name="T24" fmla="*/ 152 w 348"/>
                  <a:gd name="T25" fmla="*/ 421 h 496"/>
                  <a:gd name="T26" fmla="*/ 72 w 348"/>
                  <a:gd name="T27" fmla="*/ 321 h 496"/>
                  <a:gd name="T28" fmla="*/ 175 w 348"/>
                  <a:gd name="T29" fmla="*/ 219 h 496"/>
                  <a:gd name="T30" fmla="*/ 277 w 348"/>
                  <a:gd name="T31" fmla="*/ 321 h 496"/>
                  <a:gd name="T32" fmla="*/ 214 w 348"/>
                  <a:gd name="T33" fmla="*/ 41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8" h="496">
                    <a:moveTo>
                      <a:pt x="175" y="150"/>
                    </a:moveTo>
                    <a:cubicBezTo>
                      <a:pt x="137" y="150"/>
                      <a:pt x="103" y="163"/>
                      <a:pt x="75" y="184"/>
                    </a:cubicBezTo>
                    <a:lnTo>
                      <a:pt x="75" y="0"/>
                    </a:lnTo>
                    <a:lnTo>
                      <a:pt x="0" y="0"/>
                    </a:lnTo>
                    <a:lnTo>
                      <a:pt x="0" y="492"/>
                    </a:lnTo>
                    <a:lnTo>
                      <a:pt x="75" y="492"/>
                    </a:lnTo>
                    <a:lnTo>
                      <a:pt x="75" y="463"/>
                    </a:lnTo>
                    <a:cubicBezTo>
                      <a:pt x="103" y="484"/>
                      <a:pt x="137" y="496"/>
                      <a:pt x="175" y="496"/>
                    </a:cubicBezTo>
                    <a:cubicBezTo>
                      <a:pt x="271" y="496"/>
                      <a:pt x="348" y="418"/>
                      <a:pt x="348" y="323"/>
                    </a:cubicBezTo>
                    <a:cubicBezTo>
                      <a:pt x="348" y="227"/>
                      <a:pt x="271" y="150"/>
                      <a:pt x="175" y="150"/>
                    </a:cubicBezTo>
                    <a:close/>
                    <a:moveTo>
                      <a:pt x="214" y="416"/>
                    </a:moveTo>
                    <a:cubicBezTo>
                      <a:pt x="202" y="421"/>
                      <a:pt x="189" y="425"/>
                      <a:pt x="175" y="425"/>
                    </a:cubicBezTo>
                    <a:cubicBezTo>
                      <a:pt x="167" y="425"/>
                      <a:pt x="159" y="423"/>
                      <a:pt x="152" y="421"/>
                    </a:cubicBezTo>
                    <a:cubicBezTo>
                      <a:pt x="106" y="411"/>
                      <a:pt x="72" y="370"/>
                      <a:pt x="72" y="321"/>
                    </a:cubicBezTo>
                    <a:cubicBezTo>
                      <a:pt x="72" y="265"/>
                      <a:pt x="118" y="219"/>
                      <a:pt x="175" y="219"/>
                    </a:cubicBezTo>
                    <a:cubicBezTo>
                      <a:pt x="231" y="219"/>
                      <a:pt x="277" y="265"/>
                      <a:pt x="277" y="321"/>
                    </a:cubicBezTo>
                    <a:cubicBezTo>
                      <a:pt x="277" y="364"/>
                      <a:pt x="251" y="401"/>
                      <a:pt x="214" y="4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8" name="Textfeld 7">
            <a:extLst>
              <a:ext uri="{FF2B5EF4-FFF2-40B4-BE49-F238E27FC236}">
                <a16:creationId xmlns:a16="http://schemas.microsoft.com/office/drawing/2014/main" id="{D45DD129-8A1D-4BA5-B936-7F6EE77131C8}"/>
              </a:ext>
            </a:extLst>
          </p:cNvPr>
          <p:cNvSpPr txBox="1"/>
          <p:nvPr/>
        </p:nvSpPr>
        <p:spPr>
          <a:xfrm>
            <a:off x="1022968" y="4680000"/>
            <a:ext cx="200375" cy="144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indent="0" algn="r">
              <a:spcAft>
                <a:spcPts val="1000"/>
              </a:spcAft>
              <a:buClr>
                <a:schemeClr val="accent1"/>
              </a:buClr>
              <a:buFont typeface="Calibri" panose="020F0502020204030204" pitchFamily="34" charset="0"/>
              <a:buNone/>
            </a:pPr>
            <a:r>
              <a:rPr lang="de-DE" sz="800" dirty="0">
                <a:solidFill>
                  <a:schemeClr val="accent3"/>
                </a:solidFill>
              </a:rPr>
              <a:t>Folie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250AC068-C64B-4EA4-BF14-80770ED61E72}"/>
              </a:ext>
            </a:extLst>
          </p:cNvPr>
          <p:cNvGrpSpPr/>
          <p:nvPr/>
        </p:nvGrpSpPr>
        <p:grpSpPr>
          <a:xfrm>
            <a:off x="7273850" y="1944379"/>
            <a:ext cx="1799182" cy="576000"/>
            <a:chOff x="5014368" y="1905816"/>
            <a:chExt cx="1799182" cy="553594"/>
          </a:xfrm>
        </p:grpSpPr>
        <p:sp>
          <p:nvSpPr>
            <p:cNvPr id="24" name="Rectangle 64">
              <a:extLst>
                <a:ext uri="{FF2B5EF4-FFF2-40B4-BE49-F238E27FC236}">
                  <a16:creationId xmlns:a16="http://schemas.microsoft.com/office/drawing/2014/main" id="{6993586A-1311-45ED-98C4-8248180F55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4368" y="1905816"/>
              <a:ext cx="1799182" cy="55359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65">
              <a:extLst>
                <a:ext uri="{FF2B5EF4-FFF2-40B4-BE49-F238E27FC236}">
                  <a16:creationId xmlns:a16="http://schemas.microsoft.com/office/drawing/2014/main" id="{72326BD1-2134-4944-99B6-270ADA48E6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2756" y="2056941"/>
              <a:ext cx="1126278" cy="92266"/>
            </a:xfrm>
            <a:custGeom>
              <a:avLst/>
              <a:gdLst>
                <a:gd name="T0" fmla="*/ 1371 w 1412"/>
                <a:gd name="T1" fmla="*/ 50 h 116"/>
                <a:gd name="T2" fmla="*/ 1327 w 1412"/>
                <a:gd name="T3" fmla="*/ 28 h 116"/>
                <a:gd name="T4" fmla="*/ 1355 w 1412"/>
                <a:gd name="T5" fmla="*/ 14 h 116"/>
                <a:gd name="T6" fmla="*/ 1409 w 1412"/>
                <a:gd name="T7" fmla="*/ 50 h 116"/>
                <a:gd name="T8" fmla="*/ 1259 w 1412"/>
                <a:gd name="T9" fmla="*/ 99 h 116"/>
                <a:gd name="T10" fmla="*/ 1256 w 1412"/>
                <a:gd name="T11" fmla="*/ 91 h 116"/>
                <a:gd name="T12" fmla="*/ 1258 w 1412"/>
                <a:gd name="T13" fmla="*/ 51 h 116"/>
                <a:gd name="T14" fmla="*/ 1287 w 1412"/>
                <a:gd name="T15" fmla="*/ 114 h 116"/>
                <a:gd name="T16" fmla="*/ 1171 w 1412"/>
                <a:gd name="T17" fmla="*/ 2 h 116"/>
                <a:gd name="T18" fmla="*/ 1201 w 1412"/>
                <a:gd name="T19" fmla="*/ 114 h 116"/>
                <a:gd name="T20" fmla="*/ 1153 w 1412"/>
                <a:gd name="T21" fmla="*/ 2 h 116"/>
                <a:gd name="T22" fmla="*/ 1128 w 1412"/>
                <a:gd name="T23" fmla="*/ 55 h 116"/>
                <a:gd name="T24" fmla="*/ 1130 w 1412"/>
                <a:gd name="T25" fmla="*/ 94 h 116"/>
                <a:gd name="T26" fmla="*/ 1012 w 1412"/>
                <a:gd name="T27" fmla="*/ 93 h 116"/>
                <a:gd name="T28" fmla="*/ 1030 w 1412"/>
                <a:gd name="T29" fmla="*/ 80 h 116"/>
                <a:gd name="T30" fmla="*/ 1062 w 1412"/>
                <a:gd name="T31" fmla="*/ 43 h 116"/>
                <a:gd name="T32" fmla="*/ 1035 w 1412"/>
                <a:gd name="T33" fmla="*/ 66 h 116"/>
                <a:gd name="T34" fmla="*/ 1046 w 1412"/>
                <a:gd name="T35" fmla="*/ 114 h 116"/>
                <a:gd name="T36" fmla="*/ 958 w 1412"/>
                <a:gd name="T37" fmla="*/ 36 h 116"/>
                <a:gd name="T38" fmla="*/ 986 w 1412"/>
                <a:gd name="T39" fmla="*/ 101 h 116"/>
                <a:gd name="T40" fmla="*/ 958 w 1412"/>
                <a:gd name="T41" fmla="*/ 99 h 116"/>
                <a:gd name="T42" fmla="*/ 934 w 1412"/>
                <a:gd name="T43" fmla="*/ 34 h 116"/>
                <a:gd name="T44" fmla="*/ 895 w 1412"/>
                <a:gd name="T45" fmla="*/ 114 h 116"/>
                <a:gd name="T46" fmla="*/ 855 w 1412"/>
                <a:gd name="T47" fmla="*/ 19 h 116"/>
                <a:gd name="T48" fmla="*/ 728 w 1412"/>
                <a:gd name="T49" fmla="*/ 36 h 116"/>
                <a:gd name="T50" fmla="*/ 775 w 1412"/>
                <a:gd name="T51" fmla="*/ 36 h 116"/>
                <a:gd name="T52" fmla="*/ 821 w 1412"/>
                <a:gd name="T53" fmla="*/ 36 h 116"/>
                <a:gd name="T54" fmla="*/ 780 w 1412"/>
                <a:gd name="T55" fmla="*/ 67 h 116"/>
                <a:gd name="T56" fmla="*/ 692 w 1412"/>
                <a:gd name="T57" fmla="*/ 50 h 116"/>
                <a:gd name="T58" fmla="*/ 693 w 1412"/>
                <a:gd name="T59" fmla="*/ 66 h 116"/>
                <a:gd name="T60" fmla="*/ 607 w 1412"/>
                <a:gd name="T61" fmla="*/ 68 h 116"/>
                <a:gd name="T62" fmla="*/ 650 w 1412"/>
                <a:gd name="T63" fmla="*/ 44 h 116"/>
                <a:gd name="T64" fmla="*/ 649 w 1412"/>
                <a:gd name="T65" fmla="*/ 96 h 116"/>
                <a:gd name="T66" fmla="*/ 527 w 1412"/>
                <a:gd name="T67" fmla="*/ 93 h 116"/>
                <a:gd name="T68" fmla="*/ 545 w 1412"/>
                <a:gd name="T69" fmla="*/ 80 h 116"/>
                <a:gd name="T70" fmla="*/ 577 w 1412"/>
                <a:gd name="T71" fmla="*/ 43 h 116"/>
                <a:gd name="T72" fmla="*/ 550 w 1412"/>
                <a:gd name="T73" fmla="*/ 66 h 116"/>
                <a:gd name="T74" fmla="*/ 561 w 1412"/>
                <a:gd name="T75" fmla="*/ 114 h 116"/>
                <a:gd name="T76" fmla="*/ 490 w 1412"/>
                <a:gd name="T77" fmla="*/ 99 h 116"/>
                <a:gd name="T78" fmla="*/ 457 w 1412"/>
                <a:gd name="T79" fmla="*/ 66 h 116"/>
                <a:gd name="T80" fmla="*/ 483 w 1412"/>
                <a:gd name="T81" fmla="*/ 48 h 116"/>
                <a:gd name="T82" fmla="*/ 503 w 1412"/>
                <a:gd name="T83" fmla="*/ 76 h 116"/>
                <a:gd name="T84" fmla="*/ 451 w 1412"/>
                <a:gd name="T85" fmla="*/ 105 h 116"/>
                <a:gd name="T86" fmla="*/ 405 w 1412"/>
                <a:gd name="T87" fmla="*/ 78 h 116"/>
                <a:gd name="T88" fmla="*/ 415 w 1412"/>
                <a:gd name="T89" fmla="*/ 53 h 116"/>
                <a:gd name="T90" fmla="*/ 429 w 1412"/>
                <a:gd name="T91" fmla="*/ 43 h 116"/>
                <a:gd name="T92" fmla="*/ 379 w 1412"/>
                <a:gd name="T93" fmla="*/ 109 h 116"/>
                <a:gd name="T94" fmla="*/ 279 w 1412"/>
                <a:gd name="T95" fmla="*/ 79 h 116"/>
                <a:gd name="T96" fmla="*/ 334 w 1412"/>
                <a:gd name="T97" fmla="*/ 79 h 116"/>
                <a:gd name="T98" fmla="*/ 303 w 1412"/>
                <a:gd name="T99" fmla="*/ 35 h 116"/>
                <a:gd name="T100" fmla="*/ 182 w 1412"/>
                <a:gd name="T101" fmla="*/ 53 h 116"/>
                <a:gd name="T102" fmla="*/ 156 w 1412"/>
                <a:gd name="T103" fmla="*/ 37 h 116"/>
                <a:gd name="T104" fmla="*/ 158 w 1412"/>
                <a:gd name="T105" fmla="*/ 96 h 116"/>
                <a:gd name="T106" fmla="*/ 144 w 1412"/>
                <a:gd name="T107" fmla="*/ 105 h 116"/>
                <a:gd name="T108" fmla="*/ 106 w 1412"/>
                <a:gd name="T109" fmla="*/ 22 h 116"/>
                <a:gd name="T110" fmla="*/ 106 w 1412"/>
                <a:gd name="T111" fmla="*/ 22 h 116"/>
                <a:gd name="T112" fmla="*/ 26 w 1412"/>
                <a:gd name="T113" fmla="*/ 99 h 116"/>
                <a:gd name="T114" fmla="*/ 28 w 1412"/>
                <a:gd name="T115" fmla="*/ 114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12" h="116">
                  <a:moveTo>
                    <a:pt x="1412" y="113"/>
                  </a:moveTo>
                  <a:cubicBezTo>
                    <a:pt x="1410" y="113"/>
                    <a:pt x="1407" y="114"/>
                    <a:pt x="1405" y="115"/>
                  </a:cubicBezTo>
                  <a:cubicBezTo>
                    <a:pt x="1402" y="115"/>
                    <a:pt x="1399" y="116"/>
                    <a:pt x="1396" y="116"/>
                  </a:cubicBezTo>
                  <a:cubicBezTo>
                    <a:pt x="1391" y="116"/>
                    <a:pt x="1388" y="115"/>
                    <a:pt x="1385" y="114"/>
                  </a:cubicBezTo>
                  <a:cubicBezTo>
                    <a:pt x="1381" y="112"/>
                    <a:pt x="1379" y="110"/>
                    <a:pt x="1377" y="108"/>
                  </a:cubicBezTo>
                  <a:cubicBezTo>
                    <a:pt x="1375" y="105"/>
                    <a:pt x="1374" y="102"/>
                    <a:pt x="1373" y="99"/>
                  </a:cubicBezTo>
                  <a:cubicBezTo>
                    <a:pt x="1372" y="95"/>
                    <a:pt x="1371" y="92"/>
                    <a:pt x="1371" y="87"/>
                  </a:cubicBezTo>
                  <a:lnTo>
                    <a:pt x="1371" y="50"/>
                  </a:lnTo>
                  <a:lnTo>
                    <a:pt x="1345" y="50"/>
                  </a:lnTo>
                  <a:lnTo>
                    <a:pt x="1345" y="114"/>
                  </a:lnTo>
                  <a:lnTo>
                    <a:pt x="1327" y="114"/>
                  </a:lnTo>
                  <a:lnTo>
                    <a:pt x="1327" y="50"/>
                  </a:lnTo>
                  <a:lnTo>
                    <a:pt x="1317" y="50"/>
                  </a:lnTo>
                  <a:lnTo>
                    <a:pt x="1317" y="37"/>
                  </a:lnTo>
                  <a:lnTo>
                    <a:pt x="1327" y="36"/>
                  </a:lnTo>
                  <a:lnTo>
                    <a:pt x="1327" y="28"/>
                  </a:lnTo>
                  <a:cubicBezTo>
                    <a:pt x="1327" y="24"/>
                    <a:pt x="1328" y="20"/>
                    <a:pt x="1329" y="17"/>
                  </a:cubicBezTo>
                  <a:cubicBezTo>
                    <a:pt x="1330" y="13"/>
                    <a:pt x="1331" y="10"/>
                    <a:pt x="1333" y="8"/>
                  </a:cubicBezTo>
                  <a:cubicBezTo>
                    <a:pt x="1335" y="5"/>
                    <a:pt x="1338" y="3"/>
                    <a:pt x="1341" y="2"/>
                  </a:cubicBezTo>
                  <a:cubicBezTo>
                    <a:pt x="1345" y="1"/>
                    <a:pt x="1348" y="0"/>
                    <a:pt x="1353" y="0"/>
                  </a:cubicBezTo>
                  <a:cubicBezTo>
                    <a:pt x="1356" y="0"/>
                    <a:pt x="1358" y="0"/>
                    <a:pt x="1361" y="1"/>
                  </a:cubicBezTo>
                  <a:cubicBezTo>
                    <a:pt x="1363" y="1"/>
                    <a:pt x="1366" y="2"/>
                    <a:pt x="1367" y="3"/>
                  </a:cubicBezTo>
                  <a:lnTo>
                    <a:pt x="1364" y="16"/>
                  </a:lnTo>
                  <a:cubicBezTo>
                    <a:pt x="1361" y="15"/>
                    <a:pt x="1358" y="14"/>
                    <a:pt x="1355" y="14"/>
                  </a:cubicBezTo>
                  <a:cubicBezTo>
                    <a:pt x="1349" y="14"/>
                    <a:pt x="1345" y="19"/>
                    <a:pt x="1345" y="28"/>
                  </a:cubicBezTo>
                  <a:lnTo>
                    <a:pt x="1345" y="36"/>
                  </a:lnTo>
                  <a:lnTo>
                    <a:pt x="1372" y="36"/>
                  </a:lnTo>
                  <a:lnTo>
                    <a:pt x="1374" y="15"/>
                  </a:lnTo>
                  <a:lnTo>
                    <a:pt x="1389" y="15"/>
                  </a:lnTo>
                  <a:lnTo>
                    <a:pt x="1389" y="36"/>
                  </a:lnTo>
                  <a:lnTo>
                    <a:pt x="1409" y="36"/>
                  </a:lnTo>
                  <a:lnTo>
                    <a:pt x="1409" y="50"/>
                  </a:lnTo>
                  <a:lnTo>
                    <a:pt x="1389" y="50"/>
                  </a:lnTo>
                  <a:lnTo>
                    <a:pt x="1389" y="87"/>
                  </a:lnTo>
                  <a:cubicBezTo>
                    <a:pt x="1389" y="96"/>
                    <a:pt x="1393" y="101"/>
                    <a:pt x="1401" y="101"/>
                  </a:cubicBezTo>
                  <a:cubicBezTo>
                    <a:pt x="1402" y="101"/>
                    <a:pt x="1403" y="101"/>
                    <a:pt x="1405" y="101"/>
                  </a:cubicBezTo>
                  <a:cubicBezTo>
                    <a:pt x="1406" y="100"/>
                    <a:pt x="1407" y="100"/>
                    <a:pt x="1409" y="99"/>
                  </a:cubicBezTo>
                  <a:lnTo>
                    <a:pt x="1412" y="113"/>
                  </a:lnTo>
                  <a:close/>
                  <a:moveTo>
                    <a:pt x="1256" y="91"/>
                  </a:moveTo>
                  <a:cubicBezTo>
                    <a:pt x="1256" y="95"/>
                    <a:pt x="1257" y="97"/>
                    <a:pt x="1259" y="99"/>
                  </a:cubicBezTo>
                  <a:cubicBezTo>
                    <a:pt x="1261" y="101"/>
                    <a:pt x="1264" y="101"/>
                    <a:pt x="1267" y="101"/>
                  </a:cubicBezTo>
                  <a:cubicBezTo>
                    <a:pt x="1270" y="101"/>
                    <a:pt x="1273" y="101"/>
                    <a:pt x="1276" y="99"/>
                  </a:cubicBezTo>
                  <a:cubicBezTo>
                    <a:pt x="1278" y="98"/>
                    <a:pt x="1281" y="96"/>
                    <a:pt x="1284" y="93"/>
                  </a:cubicBezTo>
                  <a:lnTo>
                    <a:pt x="1284" y="75"/>
                  </a:lnTo>
                  <a:cubicBezTo>
                    <a:pt x="1278" y="76"/>
                    <a:pt x="1274" y="77"/>
                    <a:pt x="1270" y="78"/>
                  </a:cubicBezTo>
                  <a:cubicBezTo>
                    <a:pt x="1267" y="79"/>
                    <a:pt x="1264" y="80"/>
                    <a:pt x="1262" y="81"/>
                  </a:cubicBezTo>
                  <a:cubicBezTo>
                    <a:pt x="1260" y="83"/>
                    <a:pt x="1258" y="84"/>
                    <a:pt x="1257" y="86"/>
                  </a:cubicBezTo>
                  <a:cubicBezTo>
                    <a:pt x="1256" y="88"/>
                    <a:pt x="1256" y="89"/>
                    <a:pt x="1256" y="91"/>
                  </a:cubicBezTo>
                  <a:close/>
                  <a:moveTo>
                    <a:pt x="1238" y="93"/>
                  </a:moveTo>
                  <a:cubicBezTo>
                    <a:pt x="1238" y="84"/>
                    <a:pt x="1242" y="78"/>
                    <a:pt x="1249" y="73"/>
                  </a:cubicBezTo>
                  <a:cubicBezTo>
                    <a:pt x="1256" y="69"/>
                    <a:pt x="1268" y="66"/>
                    <a:pt x="1284" y="64"/>
                  </a:cubicBezTo>
                  <a:cubicBezTo>
                    <a:pt x="1284" y="62"/>
                    <a:pt x="1283" y="60"/>
                    <a:pt x="1283" y="58"/>
                  </a:cubicBezTo>
                  <a:cubicBezTo>
                    <a:pt x="1282" y="56"/>
                    <a:pt x="1282" y="55"/>
                    <a:pt x="1281" y="53"/>
                  </a:cubicBezTo>
                  <a:cubicBezTo>
                    <a:pt x="1279" y="52"/>
                    <a:pt x="1278" y="51"/>
                    <a:pt x="1276" y="50"/>
                  </a:cubicBezTo>
                  <a:cubicBezTo>
                    <a:pt x="1274" y="49"/>
                    <a:pt x="1272" y="49"/>
                    <a:pt x="1270" y="49"/>
                  </a:cubicBezTo>
                  <a:cubicBezTo>
                    <a:pt x="1266" y="49"/>
                    <a:pt x="1262" y="50"/>
                    <a:pt x="1258" y="51"/>
                  </a:cubicBezTo>
                  <a:cubicBezTo>
                    <a:pt x="1255" y="52"/>
                    <a:pt x="1251" y="54"/>
                    <a:pt x="1248" y="56"/>
                  </a:cubicBezTo>
                  <a:lnTo>
                    <a:pt x="1241" y="44"/>
                  </a:lnTo>
                  <a:cubicBezTo>
                    <a:pt x="1245" y="41"/>
                    <a:pt x="1250" y="39"/>
                    <a:pt x="1256" y="37"/>
                  </a:cubicBezTo>
                  <a:cubicBezTo>
                    <a:pt x="1261" y="35"/>
                    <a:pt x="1267" y="34"/>
                    <a:pt x="1273" y="34"/>
                  </a:cubicBezTo>
                  <a:cubicBezTo>
                    <a:pt x="1283" y="34"/>
                    <a:pt x="1290" y="37"/>
                    <a:pt x="1295" y="43"/>
                  </a:cubicBezTo>
                  <a:cubicBezTo>
                    <a:pt x="1300" y="48"/>
                    <a:pt x="1302" y="57"/>
                    <a:pt x="1302" y="68"/>
                  </a:cubicBezTo>
                  <a:lnTo>
                    <a:pt x="1302" y="114"/>
                  </a:lnTo>
                  <a:lnTo>
                    <a:pt x="1287" y="114"/>
                  </a:lnTo>
                  <a:lnTo>
                    <a:pt x="1286" y="105"/>
                  </a:lnTo>
                  <a:lnTo>
                    <a:pt x="1285" y="105"/>
                  </a:lnTo>
                  <a:cubicBezTo>
                    <a:pt x="1282" y="108"/>
                    <a:pt x="1278" y="111"/>
                    <a:pt x="1274" y="113"/>
                  </a:cubicBezTo>
                  <a:cubicBezTo>
                    <a:pt x="1270" y="115"/>
                    <a:pt x="1266" y="116"/>
                    <a:pt x="1261" y="116"/>
                  </a:cubicBezTo>
                  <a:cubicBezTo>
                    <a:pt x="1254" y="116"/>
                    <a:pt x="1249" y="114"/>
                    <a:pt x="1244" y="109"/>
                  </a:cubicBezTo>
                  <a:cubicBezTo>
                    <a:pt x="1240" y="105"/>
                    <a:pt x="1238" y="100"/>
                    <a:pt x="1238" y="93"/>
                  </a:cubicBezTo>
                  <a:close/>
                  <a:moveTo>
                    <a:pt x="1153" y="2"/>
                  </a:moveTo>
                  <a:lnTo>
                    <a:pt x="1171" y="2"/>
                  </a:lnTo>
                  <a:lnTo>
                    <a:pt x="1171" y="31"/>
                  </a:lnTo>
                  <a:lnTo>
                    <a:pt x="1171" y="46"/>
                  </a:lnTo>
                  <a:cubicBezTo>
                    <a:pt x="1174" y="43"/>
                    <a:pt x="1177" y="40"/>
                    <a:pt x="1181" y="38"/>
                  </a:cubicBezTo>
                  <a:cubicBezTo>
                    <a:pt x="1185" y="35"/>
                    <a:pt x="1190" y="34"/>
                    <a:pt x="1195" y="34"/>
                  </a:cubicBezTo>
                  <a:cubicBezTo>
                    <a:pt x="1204" y="34"/>
                    <a:pt x="1210" y="37"/>
                    <a:pt x="1214" y="42"/>
                  </a:cubicBezTo>
                  <a:cubicBezTo>
                    <a:pt x="1217" y="47"/>
                    <a:pt x="1219" y="55"/>
                    <a:pt x="1219" y="65"/>
                  </a:cubicBezTo>
                  <a:lnTo>
                    <a:pt x="1219" y="114"/>
                  </a:lnTo>
                  <a:lnTo>
                    <a:pt x="1201" y="114"/>
                  </a:lnTo>
                  <a:lnTo>
                    <a:pt x="1201" y="67"/>
                  </a:lnTo>
                  <a:cubicBezTo>
                    <a:pt x="1201" y="61"/>
                    <a:pt x="1200" y="56"/>
                    <a:pt x="1198" y="54"/>
                  </a:cubicBezTo>
                  <a:cubicBezTo>
                    <a:pt x="1196" y="51"/>
                    <a:pt x="1193" y="50"/>
                    <a:pt x="1189" y="50"/>
                  </a:cubicBezTo>
                  <a:cubicBezTo>
                    <a:pt x="1186" y="50"/>
                    <a:pt x="1183" y="51"/>
                    <a:pt x="1180" y="52"/>
                  </a:cubicBezTo>
                  <a:cubicBezTo>
                    <a:pt x="1177" y="54"/>
                    <a:pt x="1174" y="56"/>
                    <a:pt x="1171" y="59"/>
                  </a:cubicBezTo>
                  <a:lnTo>
                    <a:pt x="1171" y="114"/>
                  </a:lnTo>
                  <a:lnTo>
                    <a:pt x="1153" y="114"/>
                  </a:lnTo>
                  <a:lnTo>
                    <a:pt x="1153" y="2"/>
                  </a:lnTo>
                  <a:close/>
                  <a:moveTo>
                    <a:pt x="1075" y="75"/>
                  </a:moveTo>
                  <a:cubicBezTo>
                    <a:pt x="1075" y="68"/>
                    <a:pt x="1076" y="63"/>
                    <a:pt x="1078" y="58"/>
                  </a:cubicBezTo>
                  <a:cubicBezTo>
                    <a:pt x="1080" y="53"/>
                    <a:pt x="1083" y="48"/>
                    <a:pt x="1086" y="45"/>
                  </a:cubicBezTo>
                  <a:cubicBezTo>
                    <a:pt x="1090" y="41"/>
                    <a:pt x="1094" y="39"/>
                    <a:pt x="1099" y="37"/>
                  </a:cubicBezTo>
                  <a:cubicBezTo>
                    <a:pt x="1104" y="35"/>
                    <a:pt x="1109" y="34"/>
                    <a:pt x="1114" y="34"/>
                  </a:cubicBezTo>
                  <a:cubicBezTo>
                    <a:pt x="1119" y="34"/>
                    <a:pt x="1123" y="35"/>
                    <a:pt x="1127" y="37"/>
                  </a:cubicBezTo>
                  <a:cubicBezTo>
                    <a:pt x="1131" y="38"/>
                    <a:pt x="1134" y="41"/>
                    <a:pt x="1136" y="43"/>
                  </a:cubicBezTo>
                  <a:lnTo>
                    <a:pt x="1128" y="55"/>
                  </a:lnTo>
                  <a:cubicBezTo>
                    <a:pt x="1126" y="53"/>
                    <a:pt x="1124" y="51"/>
                    <a:pt x="1121" y="50"/>
                  </a:cubicBezTo>
                  <a:cubicBezTo>
                    <a:pt x="1119" y="49"/>
                    <a:pt x="1117" y="49"/>
                    <a:pt x="1115" y="49"/>
                  </a:cubicBezTo>
                  <a:cubicBezTo>
                    <a:pt x="1108" y="49"/>
                    <a:pt x="1103" y="51"/>
                    <a:pt x="1099" y="56"/>
                  </a:cubicBezTo>
                  <a:cubicBezTo>
                    <a:pt x="1095" y="61"/>
                    <a:pt x="1093" y="67"/>
                    <a:pt x="1093" y="75"/>
                  </a:cubicBezTo>
                  <a:cubicBezTo>
                    <a:pt x="1093" y="83"/>
                    <a:pt x="1095" y="89"/>
                    <a:pt x="1099" y="94"/>
                  </a:cubicBezTo>
                  <a:cubicBezTo>
                    <a:pt x="1103" y="98"/>
                    <a:pt x="1108" y="101"/>
                    <a:pt x="1114" y="101"/>
                  </a:cubicBezTo>
                  <a:cubicBezTo>
                    <a:pt x="1117" y="101"/>
                    <a:pt x="1120" y="100"/>
                    <a:pt x="1123" y="99"/>
                  </a:cubicBezTo>
                  <a:cubicBezTo>
                    <a:pt x="1126" y="97"/>
                    <a:pt x="1128" y="96"/>
                    <a:pt x="1130" y="94"/>
                  </a:cubicBezTo>
                  <a:lnTo>
                    <a:pt x="1138" y="106"/>
                  </a:lnTo>
                  <a:cubicBezTo>
                    <a:pt x="1134" y="109"/>
                    <a:pt x="1130" y="111"/>
                    <a:pt x="1126" y="113"/>
                  </a:cubicBezTo>
                  <a:cubicBezTo>
                    <a:pt x="1121" y="115"/>
                    <a:pt x="1117" y="116"/>
                    <a:pt x="1112" y="116"/>
                  </a:cubicBezTo>
                  <a:cubicBezTo>
                    <a:pt x="1107" y="116"/>
                    <a:pt x="1102" y="115"/>
                    <a:pt x="1097" y="113"/>
                  </a:cubicBezTo>
                  <a:cubicBezTo>
                    <a:pt x="1093" y="111"/>
                    <a:pt x="1089" y="108"/>
                    <a:pt x="1086" y="105"/>
                  </a:cubicBezTo>
                  <a:cubicBezTo>
                    <a:pt x="1082" y="101"/>
                    <a:pt x="1079" y="97"/>
                    <a:pt x="1078" y="92"/>
                  </a:cubicBezTo>
                  <a:cubicBezTo>
                    <a:pt x="1076" y="87"/>
                    <a:pt x="1075" y="81"/>
                    <a:pt x="1075" y="75"/>
                  </a:cubicBezTo>
                  <a:close/>
                  <a:moveTo>
                    <a:pt x="1012" y="93"/>
                  </a:moveTo>
                  <a:cubicBezTo>
                    <a:pt x="1016" y="96"/>
                    <a:pt x="1019" y="98"/>
                    <a:pt x="1023" y="100"/>
                  </a:cubicBezTo>
                  <a:cubicBezTo>
                    <a:pt x="1026" y="101"/>
                    <a:pt x="1030" y="102"/>
                    <a:pt x="1034" y="102"/>
                  </a:cubicBezTo>
                  <a:cubicBezTo>
                    <a:pt x="1038" y="102"/>
                    <a:pt x="1041" y="101"/>
                    <a:pt x="1043" y="99"/>
                  </a:cubicBezTo>
                  <a:cubicBezTo>
                    <a:pt x="1045" y="97"/>
                    <a:pt x="1046" y="95"/>
                    <a:pt x="1046" y="92"/>
                  </a:cubicBezTo>
                  <a:cubicBezTo>
                    <a:pt x="1046" y="91"/>
                    <a:pt x="1046" y="89"/>
                    <a:pt x="1045" y="88"/>
                  </a:cubicBezTo>
                  <a:cubicBezTo>
                    <a:pt x="1044" y="87"/>
                    <a:pt x="1043" y="86"/>
                    <a:pt x="1041" y="85"/>
                  </a:cubicBezTo>
                  <a:cubicBezTo>
                    <a:pt x="1039" y="84"/>
                    <a:pt x="1038" y="83"/>
                    <a:pt x="1036" y="82"/>
                  </a:cubicBezTo>
                  <a:cubicBezTo>
                    <a:pt x="1034" y="82"/>
                    <a:pt x="1032" y="81"/>
                    <a:pt x="1030" y="80"/>
                  </a:cubicBezTo>
                  <a:cubicBezTo>
                    <a:pt x="1027" y="79"/>
                    <a:pt x="1024" y="78"/>
                    <a:pt x="1022" y="77"/>
                  </a:cubicBezTo>
                  <a:cubicBezTo>
                    <a:pt x="1019" y="75"/>
                    <a:pt x="1017" y="74"/>
                    <a:pt x="1015" y="72"/>
                  </a:cubicBezTo>
                  <a:cubicBezTo>
                    <a:pt x="1013" y="70"/>
                    <a:pt x="1011" y="68"/>
                    <a:pt x="1010" y="66"/>
                  </a:cubicBezTo>
                  <a:cubicBezTo>
                    <a:pt x="1008" y="63"/>
                    <a:pt x="1008" y="61"/>
                    <a:pt x="1008" y="57"/>
                  </a:cubicBezTo>
                  <a:cubicBezTo>
                    <a:pt x="1008" y="50"/>
                    <a:pt x="1010" y="45"/>
                    <a:pt x="1015" y="41"/>
                  </a:cubicBezTo>
                  <a:cubicBezTo>
                    <a:pt x="1020" y="36"/>
                    <a:pt x="1027" y="34"/>
                    <a:pt x="1036" y="34"/>
                  </a:cubicBezTo>
                  <a:cubicBezTo>
                    <a:pt x="1041" y="34"/>
                    <a:pt x="1046" y="35"/>
                    <a:pt x="1051" y="37"/>
                  </a:cubicBezTo>
                  <a:cubicBezTo>
                    <a:pt x="1055" y="39"/>
                    <a:pt x="1059" y="41"/>
                    <a:pt x="1062" y="43"/>
                  </a:cubicBezTo>
                  <a:lnTo>
                    <a:pt x="1054" y="54"/>
                  </a:lnTo>
                  <a:cubicBezTo>
                    <a:pt x="1051" y="52"/>
                    <a:pt x="1048" y="51"/>
                    <a:pt x="1045" y="50"/>
                  </a:cubicBezTo>
                  <a:cubicBezTo>
                    <a:pt x="1042" y="48"/>
                    <a:pt x="1039" y="48"/>
                    <a:pt x="1036" y="48"/>
                  </a:cubicBezTo>
                  <a:cubicBezTo>
                    <a:pt x="1033" y="48"/>
                    <a:pt x="1030" y="49"/>
                    <a:pt x="1028" y="50"/>
                  </a:cubicBezTo>
                  <a:cubicBezTo>
                    <a:pt x="1026" y="52"/>
                    <a:pt x="1025" y="54"/>
                    <a:pt x="1025" y="56"/>
                  </a:cubicBezTo>
                  <a:cubicBezTo>
                    <a:pt x="1025" y="58"/>
                    <a:pt x="1025" y="59"/>
                    <a:pt x="1026" y="60"/>
                  </a:cubicBezTo>
                  <a:cubicBezTo>
                    <a:pt x="1027" y="62"/>
                    <a:pt x="1028" y="63"/>
                    <a:pt x="1030" y="63"/>
                  </a:cubicBezTo>
                  <a:cubicBezTo>
                    <a:pt x="1031" y="64"/>
                    <a:pt x="1033" y="65"/>
                    <a:pt x="1035" y="66"/>
                  </a:cubicBezTo>
                  <a:cubicBezTo>
                    <a:pt x="1037" y="66"/>
                    <a:pt x="1039" y="67"/>
                    <a:pt x="1041" y="68"/>
                  </a:cubicBezTo>
                  <a:cubicBezTo>
                    <a:pt x="1044" y="69"/>
                    <a:pt x="1046" y="70"/>
                    <a:pt x="1049" y="71"/>
                  </a:cubicBezTo>
                  <a:cubicBezTo>
                    <a:pt x="1052" y="72"/>
                    <a:pt x="1054" y="74"/>
                    <a:pt x="1056" y="76"/>
                  </a:cubicBezTo>
                  <a:cubicBezTo>
                    <a:pt x="1058" y="77"/>
                    <a:pt x="1060" y="80"/>
                    <a:pt x="1062" y="82"/>
                  </a:cubicBezTo>
                  <a:cubicBezTo>
                    <a:pt x="1063" y="85"/>
                    <a:pt x="1063" y="88"/>
                    <a:pt x="1063" y="92"/>
                  </a:cubicBezTo>
                  <a:cubicBezTo>
                    <a:pt x="1063" y="95"/>
                    <a:pt x="1063" y="98"/>
                    <a:pt x="1062" y="101"/>
                  </a:cubicBezTo>
                  <a:cubicBezTo>
                    <a:pt x="1060" y="104"/>
                    <a:pt x="1058" y="106"/>
                    <a:pt x="1056" y="109"/>
                  </a:cubicBezTo>
                  <a:cubicBezTo>
                    <a:pt x="1053" y="111"/>
                    <a:pt x="1050" y="112"/>
                    <a:pt x="1046" y="114"/>
                  </a:cubicBezTo>
                  <a:cubicBezTo>
                    <a:pt x="1042" y="115"/>
                    <a:pt x="1038" y="116"/>
                    <a:pt x="1033" y="116"/>
                  </a:cubicBezTo>
                  <a:cubicBezTo>
                    <a:pt x="1028" y="116"/>
                    <a:pt x="1023" y="115"/>
                    <a:pt x="1017" y="113"/>
                  </a:cubicBezTo>
                  <a:cubicBezTo>
                    <a:pt x="1012" y="110"/>
                    <a:pt x="1008" y="108"/>
                    <a:pt x="1004" y="105"/>
                  </a:cubicBezTo>
                  <a:lnTo>
                    <a:pt x="1012" y="93"/>
                  </a:lnTo>
                  <a:close/>
                  <a:moveTo>
                    <a:pt x="957" y="50"/>
                  </a:moveTo>
                  <a:lnTo>
                    <a:pt x="946" y="50"/>
                  </a:lnTo>
                  <a:lnTo>
                    <a:pt x="946" y="37"/>
                  </a:lnTo>
                  <a:lnTo>
                    <a:pt x="958" y="36"/>
                  </a:lnTo>
                  <a:lnTo>
                    <a:pt x="960" y="15"/>
                  </a:lnTo>
                  <a:lnTo>
                    <a:pt x="975" y="15"/>
                  </a:lnTo>
                  <a:lnTo>
                    <a:pt x="975" y="36"/>
                  </a:lnTo>
                  <a:lnTo>
                    <a:pt x="995" y="36"/>
                  </a:lnTo>
                  <a:lnTo>
                    <a:pt x="995" y="50"/>
                  </a:lnTo>
                  <a:lnTo>
                    <a:pt x="975" y="50"/>
                  </a:lnTo>
                  <a:lnTo>
                    <a:pt x="975" y="87"/>
                  </a:lnTo>
                  <a:cubicBezTo>
                    <a:pt x="975" y="96"/>
                    <a:pt x="979" y="101"/>
                    <a:pt x="986" y="101"/>
                  </a:cubicBezTo>
                  <a:cubicBezTo>
                    <a:pt x="988" y="101"/>
                    <a:pt x="989" y="101"/>
                    <a:pt x="991" y="101"/>
                  </a:cubicBezTo>
                  <a:cubicBezTo>
                    <a:pt x="992" y="100"/>
                    <a:pt x="993" y="100"/>
                    <a:pt x="994" y="99"/>
                  </a:cubicBezTo>
                  <a:lnTo>
                    <a:pt x="998" y="113"/>
                  </a:lnTo>
                  <a:cubicBezTo>
                    <a:pt x="996" y="113"/>
                    <a:pt x="993" y="114"/>
                    <a:pt x="990" y="115"/>
                  </a:cubicBezTo>
                  <a:cubicBezTo>
                    <a:pt x="988" y="115"/>
                    <a:pt x="985" y="116"/>
                    <a:pt x="982" y="116"/>
                  </a:cubicBezTo>
                  <a:cubicBezTo>
                    <a:pt x="977" y="116"/>
                    <a:pt x="973" y="115"/>
                    <a:pt x="970" y="114"/>
                  </a:cubicBezTo>
                  <a:cubicBezTo>
                    <a:pt x="967" y="112"/>
                    <a:pt x="965" y="110"/>
                    <a:pt x="963" y="108"/>
                  </a:cubicBezTo>
                  <a:cubicBezTo>
                    <a:pt x="961" y="105"/>
                    <a:pt x="959" y="102"/>
                    <a:pt x="958" y="99"/>
                  </a:cubicBezTo>
                  <a:cubicBezTo>
                    <a:pt x="958" y="95"/>
                    <a:pt x="957" y="92"/>
                    <a:pt x="957" y="87"/>
                  </a:cubicBezTo>
                  <a:lnTo>
                    <a:pt x="957" y="50"/>
                  </a:lnTo>
                  <a:close/>
                  <a:moveTo>
                    <a:pt x="895" y="36"/>
                  </a:moveTo>
                  <a:lnTo>
                    <a:pt x="910" y="36"/>
                  </a:lnTo>
                  <a:lnTo>
                    <a:pt x="912" y="50"/>
                  </a:lnTo>
                  <a:lnTo>
                    <a:pt x="912" y="50"/>
                  </a:lnTo>
                  <a:cubicBezTo>
                    <a:pt x="915" y="45"/>
                    <a:pt x="918" y="41"/>
                    <a:pt x="922" y="38"/>
                  </a:cubicBezTo>
                  <a:cubicBezTo>
                    <a:pt x="926" y="35"/>
                    <a:pt x="930" y="34"/>
                    <a:pt x="934" y="34"/>
                  </a:cubicBezTo>
                  <a:cubicBezTo>
                    <a:pt x="938" y="34"/>
                    <a:pt x="941" y="35"/>
                    <a:pt x="943" y="36"/>
                  </a:cubicBezTo>
                  <a:lnTo>
                    <a:pt x="940" y="51"/>
                  </a:lnTo>
                  <a:cubicBezTo>
                    <a:pt x="939" y="51"/>
                    <a:pt x="937" y="51"/>
                    <a:pt x="936" y="51"/>
                  </a:cubicBezTo>
                  <a:cubicBezTo>
                    <a:pt x="935" y="50"/>
                    <a:pt x="934" y="50"/>
                    <a:pt x="932" y="50"/>
                  </a:cubicBezTo>
                  <a:cubicBezTo>
                    <a:pt x="929" y="50"/>
                    <a:pt x="926" y="51"/>
                    <a:pt x="922" y="54"/>
                  </a:cubicBezTo>
                  <a:cubicBezTo>
                    <a:pt x="919" y="56"/>
                    <a:pt x="916" y="60"/>
                    <a:pt x="914" y="66"/>
                  </a:cubicBezTo>
                  <a:lnTo>
                    <a:pt x="914" y="114"/>
                  </a:lnTo>
                  <a:lnTo>
                    <a:pt x="895" y="114"/>
                  </a:lnTo>
                  <a:lnTo>
                    <a:pt x="895" y="36"/>
                  </a:lnTo>
                  <a:close/>
                  <a:moveTo>
                    <a:pt x="854" y="36"/>
                  </a:moveTo>
                  <a:lnTo>
                    <a:pt x="872" y="36"/>
                  </a:lnTo>
                  <a:lnTo>
                    <a:pt x="872" y="114"/>
                  </a:lnTo>
                  <a:lnTo>
                    <a:pt x="854" y="114"/>
                  </a:lnTo>
                  <a:lnTo>
                    <a:pt x="854" y="36"/>
                  </a:lnTo>
                  <a:close/>
                  <a:moveTo>
                    <a:pt x="863" y="22"/>
                  </a:moveTo>
                  <a:cubicBezTo>
                    <a:pt x="860" y="22"/>
                    <a:pt x="857" y="21"/>
                    <a:pt x="855" y="19"/>
                  </a:cubicBezTo>
                  <a:cubicBezTo>
                    <a:pt x="853" y="18"/>
                    <a:pt x="852" y="15"/>
                    <a:pt x="852" y="12"/>
                  </a:cubicBezTo>
                  <a:cubicBezTo>
                    <a:pt x="852" y="9"/>
                    <a:pt x="853" y="6"/>
                    <a:pt x="855" y="5"/>
                  </a:cubicBezTo>
                  <a:cubicBezTo>
                    <a:pt x="857" y="3"/>
                    <a:pt x="860" y="2"/>
                    <a:pt x="863" y="2"/>
                  </a:cubicBezTo>
                  <a:cubicBezTo>
                    <a:pt x="866" y="2"/>
                    <a:pt x="869" y="3"/>
                    <a:pt x="871" y="5"/>
                  </a:cubicBezTo>
                  <a:cubicBezTo>
                    <a:pt x="873" y="6"/>
                    <a:pt x="874" y="9"/>
                    <a:pt x="874" y="12"/>
                  </a:cubicBezTo>
                  <a:cubicBezTo>
                    <a:pt x="874" y="15"/>
                    <a:pt x="873" y="18"/>
                    <a:pt x="871" y="19"/>
                  </a:cubicBezTo>
                  <a:cubicBezTo>
                    <a:pt x="869" y="21"/>
                    <a:pt x="866" y="22"/>
                    <a:pt x="863" y="22"/>
                  </a:cubicBezTo>
                  <a:close/>
                  <a:moveTo>
                    <a:pt x="728" y="36"/>
                  </a:moveTo>
                  <a:lnTo>
                    <a:pt x="746" y="36"/>
                  </a:lnTo>
                  <a:lnTo>
                    <a:pt x="755" y="76"/>
                  </a:lnTo>
                  <a:cubicBezTo>
                    <a:pt x="756" y="80"/>
                    <a:pt x="757" y="84"/>
                    <a:pt x="758" y="87"/>
                  </a:cubicBezTo>
                  <a:cubicBezTo>
                    <a:pt x="758" y="91"/>
                    <a:pt x="759" y="95"/>
                    <a:pt x="760" y="99"/>
                  </a:cubicBezTo>
                  <a:lnTo>
                    <a:pt x="760" y="99"/>
                  </a:lnTo>
                  <a:cubicBezTo>
                    <a:pt x="761" y="95"/>
                    <a:pt x="762" y="91"/>
                    <a:pt x="762" y="87"/>
                  </a:cubicBezTo>
                  <a:cubicBezTo>
                    <a:pt x="763" y="84"/>
                    <a:pt x="764" y="80"/>
                    <a:pt x="765" y="76"/>
                  </a:cubicBezTo>
                  <a:lnTo>
                    <a:pt x="775" y="36"/>
                  </a:lnTo>
                  <a:lnTo>
                    <a:pt x="792" y="36"/>
                  </a:lnTo>
                  <a:lnTo>
                    <a:pt x="802" y="76"/>
                  </a:lnTo>
                  <a:cubicBezTo>
                    <a:pt x="803" y="80"/>
                    <a:pt x="804" y="84"/>
                    <a:pt x="805" y="87"/>
                  </a:cubicBezTo>
                  <a:cubicBezTo>
                    <a:pt x="806" y="91"/>
                    <a:pt x="806" y="95"/>
                    <a:pt x="807" y="99"/>
                  </a:cubicBezTo>
                  <a:lnTo>
                    <a:pt x="808" y="99"/>
                  </a:lnTo>
                  <a:cubicBezTo>
                    <a:pt x="809" y="95"/>
                    <a:pt x="809" y="91"/>
                    <a:pt x="810" y="87"/>
                  </a:cubicBezTo>
                  <a:cubicBezTo>
                    <a:pt x="811" y="84"/>
                    <a:pt x="811" y="80"/>
                    <a:pt x="812" y="76"/>
                  </a:cubicBezTo>
                  <a:lnTo>
                    <a:pt x="821" y="36"/>
                  </a:lnTo>
                  <a:lnTo>
                    <a:pt x="839" y="36"/>
                  </a:lnTo>
                  <a:lnTo>
                    <a:pt x="819" y="114"/>
                  </a:lnTo>
                  <a:lnTo>
                    <a:pt x="797" y="114"/>
                  </a:lnTo>
                  <a:lnTo>
                    <a:pt x="788" y="77"/>
                  </a:lnTo>
                  <a:cubicBezTo>
                    <a:pt x="787" y="74"/>
                    <a:pt x="786" y="70"/>
                    <a:pt x="786" y="66"/>
                  </a:cubicBezTo>
                  <a:cubicBezTo>
                    <a:pt x="785" y="63"/>
                    <a:pt x="784" y="59"/>
                    <a:pt x="783" y="55"/>
                  </a:cubicBezTo>
                  <a:lnTo>
                    <a:pt x="783" y="55"/>
                  </a:lnTo>
                  <a:cubicBezTo>
                    <a:pt x="782" y="59"/>
                    <a:pt x="781" y="63"/>
                    <a:pt x="780" y="67"/>
                  </a:cubicBezTo>
                  <a:cubicBezTo>
                    <a:pt x="780" y="70"/>
                    <a:pt x="779" y="74"/>
                    <a:pt x="778" y="78"/>
                  </a:cubicBezTo>
                  <a:lnTo>
                    <a:pt x="769" y="114"/>
                  </a:lnTo>
                  <a:lnTo>
                    <a:pt x="748" y="114"/>
                  </a:lnTo>
                  <a:lnTo>
                    <a:pt x="728" y="36"/>
                  </a:lnTo>
                  <a:close/>
                  <a:moveTo>
                    <a:pt x="675" y="36"/>
                  </a:moveTo>
                  <a:lnTo>
                    <a:pt x="690" y="36"/>
                  </a:lnTo>
                  <a:lnTo>
                    <a:pt x="691" y="50"/>
                  </a:lnTo>
                  <a:lnTo>
                    <a:pt x="692" y="50"/>
                  </a:lnTo>
                  <a:cubicBezTo>
                    <a:pt x="695" y="45"/>
                    <a:pt x="698" y="41"/>
                    <a:pt x="702" y="38"/>
                  </a:cubicBezTo>
                  <a:cubicBezTo>
                    <a:pt x="706" y="35"/>
                    <a:pt x="710" y="34"/>
                    <a:pt x="714" y="34"/>
                  </a:cubicBezTo>
                  <a:cubicBezTo>
                    <a:pt x="718" y="34"/>
                    <a:pt x="721" y="35"/>
                    <a:pt x="723" y="36"/>
                  </a:cubicBezTo>
                  <a:lnTo>
                    <a:pt x="720" y="51"/>
                  </a:lnTo>
                  <a:cubicBezTo>
                    <a:pt x="718" y="51"/>
                    <a:pt x="717" y="51"/>
                    <a:pt x="716" y="51"/>
                  </a:cubicBezTo>
                  <a:cubicBezTo>
                    <a:pt x="715" y="50"/>
                    <a:pt x="713" y="50"/>
                    <a:pt x="712" y="50"/>
                  </a:cubicBezTo>
                  <a:cubicBezTo>
                    <a:pt x="709" y="50"/>
                    <a:pt x="705" y="51"/>
                    <a:pt x="702" y="54"/>
                  </a:cubicBezTo>
                  <a:cubicBezTo>
                    <a:pt x="699" y="56"/>
                    <a:pt x="696" y="60"/>
                    <a:pt x="693" y="66"/>
                  </a:cubicBezTo>
                  <a:lnTo>
                    <a:pt x="693" y="114"/>
                  </a:lnTo>
                  <a:lnTo>
                    <a:pt x="675" y="114"/>
                  </a:lnTo>
                  <a:lnTo>
                    <a:pt x="675" y="36"/>
                  </a:lnTo>
                  <a:close/>
                  <a:moveTo>
                    <a:pt x="642" y="68"/>
                  </a:moveTo>
                  <a:cubicBezTo>
                    <a:pt x="642" y="62"/>
                    <a:pt x="641" y="57"/>
                    <a:pt x="638" y="53"/>
                  </a:cubicBezTo>
                  <a:cubicBezTo>
                    <a:pt x="635" y="50"/>
                    <a:pt x="631" y="48"/>
                    <a:pt x="626" y="48"/>
                  </a:cubicBezTo>
                  <a:cubicBezTo>
                    <a:pt x="621" y="48"/>
                    <a:pt x="617" y="50"/>
                    <a:pt x="614" y="53"/>
                  </a:cubicBezTo>
                  <a:cubicBezTo>
                    <a:pt x="610" y="56"/>
                    <a:pt x="608" y="61"/>
                    <a:pt x="607" y="68"/>
                  </a:cubicBezTo>
                  <a:lnTo>
                    <a:pt x="642" y="68"/>
                  </a:lnTo>
                  <a:close/>
                  <a:moveTo>
                    <a:pt x="590" y="75"/>
                  </a:moveTo>
                  <a:cubicBezTo>
                    <a:pt x="590" y="69"/>
                    <a:pt x="591" y="63"/>
                    <a:pt x="593" y="58"/>
                  </a:cubicBezTo>
                  <a:cubicBezTo>
                    <a:pt x="595" y="53"/>
                    <a:pt x="597" y="48"/>
                    <a:pt x="601" y="45"/>
                  </a:cubicBezTo>
                  <a:cubicBezTo>
                    <a:pt x="604" y="41"/>
                    <a:pt x="608" y="39"/>
                    <a:pt x="612" y="37"/>
                  </a:cubicBezTo>
                  <a:cubicBezTo>
                    <a:pt x="617" y="35"/>
                    <a:pt x="621" y="34"/>
                    <a:pt x="626" y="34"/>
                  </a:cubicBezTo>
                  <a:cubicBezTo>
                    <a:pt x="631" y="34"/>
                    <a:pt x="635" y="35"/>
                    <a:pt x="639" y="37"/>
                  </a:cubicBezTo>
                  <a:cubicBezTo>
                    <a:pt x="644" y="39"/>
                    <a:pt x="647" y="41"/>
                    <a:pt x="650" y="44"/>
                  </a:cubicBezTo>
                  <a:cubicBezTo>
                    <a:pt x="652" y="48"/>
                    <a:pt x="654" y="52"/>
                    <a:pt x="656" y="56"/>
                  </a:cubicBezTo>
                  <a:cubicBezTo>
                    <a:pt x="657" y="61"/>
                    <a:pt x="658" y="66"/>
                    <a:pt x="658" y="71"/>
                  </a:cubicBezTo>
                  <a:cubicBezTo>
                    <a:pt x="658" y="75"/>
                    <a:pt x="657" y="77"/>
                    <a:pt x="657" y="79"/>
                  </a:cubicBezTo>
                  <a:lnTo>
                    <a:pt x="608" y="79"/>
                  </a:lnTo>
                  <a:cubicBezTo>
                    <a:pt x="608" y="87"/>
                    <a:pt x="611" y="92"/>
                    <a:pt x="615" y="96"/>
                  </a:cubicBezTo>
                  <a:cubicBezTo>
                    <a:pt x="619" y="100"/>
                    <a:pt x="624" y="101"/>
                    <a:pt x="630" y="101"/>
                  </a:cubicBezTo>
                  <a:cubicBezTo>
                    <a:pt x="634" y="101"/>
                    <a:pt x="637" y="101"/>
                    <a:pt x="640" y="100"/>
                  </a:cubicBezTo>
                  <a:cubicBezTo>
                    <a:pt x="643" y="99"/>
                    <a:pt x="646" y="98"/>
                    <a:pt x="649" y="96"/>
                  </a:cubicBezTo>
                  <a:lnTo>
                    <a:pt x="655" y="107"/>
                  </a:lnTo>
                  <a:cubicBezTo>
                    <a:pt x="651" y="110"/>
                    <a:pt x="647" y="112"/>
                    <a:pt x="642" y="113"/>
                  </a:cubicBezTo>
                  <a:cubicBezTo>
                    <a:pt x="638" y="115"/>
                    <a:pt x="633" y="116"/>
                    <a:pt x="628" y="116"/>
                  </a:cubicBezTo>
                  <a:cubicBezTo>
                    <a:pt x="623" y="116"/>
                    <a:pt x="618" y="115"/>
                    <a:pt x="613" y="113"/>
                  </a:cubicBezTo>
                  <a:cubicBezTo>
                    <a:pt x="608" y="111"/>
                    <a:pt x="604" y="108"/>
                    <a:pt x="601" y="105"/>
                  </a:cubicBezTo>
                  <a:cubicBezTo>
                    <a:pt x="597" y="101"/>
                    <a:pt x="595" y="97"/>
                    <a:pt x="593" y="92"/>
                  </a:cubicBezTo>
                  <a:cubicBezTo>
                    <a:pt x="591" y="87"/>
                    <a:pt x="590" y="81"/>
                    <a:pt x="590" y="75"/>
                  </a:cubicBezTo>
                  <a:close/>
                  <a:moveTo>
                    <a:pt x="527" y="93"/>
                  </a:moveTo>
                  <a:cubicBezTo>
                    <a:pt x="531" y="96"/>
                    <a:pt x="534" y="98"/>
                    <a:pt x="538" y="100"/>
                  </a:cubicBezTo>
                  <a:cubicBezTo>
                    <a:pt x="541" y="101"/>
                    <a:pt x="545" y="102"/>
                    <a:pt x="549" y="102"/>
                  </a:cubicBezTo>
                  <a:cubicBezTo>
                    <a:pt x="553" y="102"/>
                    <a:pt x="556" y="101"/>
                    <a:pt x="558" y="99"/>
                  </a:cubicBezTo>
                  <a:cubicBezTo>
                    <a:pt x="560" y="97"/>
                    <a:pt x="561" y="95"/>
                    <a:pt x="561" y="92"/>
                  </a:cubicBezTo>
                  <a:cubicBezTo>
                    <a:pt x="561" y="91"/>
                    <a:pt x="561" y="89"/>
                    <a:pt x="560" y="88"/>
                  </a:cubicBezTo>
                  <a:cubicBezTo>
                    <a:pt x="559" y="87"/>
                    <a:pt x="558" y="86"/>
                    <a:pt x="556" y="85"/>
                  </a:cubicBezTo>
                  <a:cubicBezTo>
                    <a:pt x="554" y="84"/>
                    <a:pt x="553" y="83"/>
                    <a:pt x="551" y="82"/>
                  </a:cubicBezTo>
                  <a:cubicBezTo>
                    <a:pt x="549" y="82"/>
                    <a:pt x="547" y="81"/>
                    <a:pt x="545" y="80"/>
                  </a:cubicBezTo>
                  <a:cubicBezTo>
                    <a:pt x="542" y="79"/>
                    <a:pt x="540" y="78"/>
                    <a:pt x="537" y="77"/>
                  </a:cubicBezTo>
                  <a:cubicBezTo>
                    <a:pt x="534" y="75"/>
                    <a:pt x="532" y="74"/>
                    <a:pt x="530" y="72"/>
                  </a:cubicBezTo>
                  <a:cubicBezTo>
                    <a:pt x="528" y="70"/>
                    <a:pt x="526" y="68"/>
                    <a:pt x="525" y="66"/>
                  </a:cubicBezTo>
                  <a:cubicBezTo>
                    <a:pt x="523" y="63"/>
                    <a:pt x="523" y="61"/>
                    <a:pt x="523" y="57"/>
                  </a:cubicBezTo>
                  <a:cubicBezTo>
                    <a:pt x="523" y="50"/>
                    <a:pt x="525" y="45"/>
                    <a:pt x="530" y="41"/>
                  </a:cubicBezTo>
                  <a:cubicBezTo>
                    <a:pt x="535" y="36"/>
                    <a:pt x="542" y="34"/>
                    <a:pt x="551" y="34"/>
                  </a:cubicBezTo>
                  <a:cubicBezTo>
                    <a:pt x="557" y="34"/>
                    <a:pt x="561" y="35"/>
                    <a:pt x="566" y="37"/>
                  </a:cubicBezTo>
                  <a:cubicBezTo>
                    <a:pt x="570" y="39"/>
                    <a:pt x="574" y="41"/>
                    <a:pt x="577" y="43"/>
                  </a:cubicBezTo>
                  <a:lnTo>
                    <a:pt x="569" y="54"/>
                  </a:lnTo>
                  <a:cubicBezTo>
                    <a:pt x="566" y="52"/>
                    <a:pt x="563" y="51"/>
                    <a:pt x="560" y="50"/>
                  </a:cubicBezTo>
                  <a:cubicBezTo>
                    <a:pt x="557" y="48"/>
                    <a:pt x="555" y="48"/>
                    <a:pt x="551" y="48"/>
                  </a:cubicBezTo>
                  <a:cubicBezTo>
                    <a:pt x="548" y="48"/>
                    <a:pt x="545" y="49"/>
                    <a:pt x="543" y="50"/>
                  </a:cubicBezTo>
                  <a:cubicBezTo>
                    <a:pt x="541" y="52"/>
                    <a:pt x="540" y="54"/>
                    <a:pt x="540" y="56"/>
                  </a:cubicBezTo>
                  <a:cubicBezTo>
                    <a:pt x="540" y="58"/>
                    <a:pt x="541" y="59"/>
                    <a:pt x="541" y="60"/>
                  </a:cubicBezTo>
                  <a:cubicBezTo>
                    <a:pt x="542" y="62"/>
                    <a:pt x="543" y="63"/>
                    <a:pt x="545" y="63"/>
                  </a:cubicBezTo>
                  <a:cubicBezTo>
                    <a:pt x="546" y="64"/>
                    <a:pt x="548" y="65"/>
                    <a:pt x="550" y="66"/>
                  </a:cubicBezTo>
                  <a:cubicBezTo>
                    <a:pt x="552" y="66"/>
                    <a:pt x="554" y="67"/>
                    <a:pt x="556" y="68"/>
                  </a:cubicBezTo>
                  <a:cubicBezTo>
                    <a:pt x="559" y="69"/>
                    <a:pt x="561" y="70"/>
                    <a:pt x="564" y="71"/>
                  </a:cubicBezTo>
                  <a:cubicBezTo>
                    <a:pt x="567" y="72"/>
                    <a:pt x="569" y="74"/>
                    <a:pt x="571" y="76"/>
                  </a:cubicBezTo>
                  <a:cubicBezTo>
                    <a:pt x="574" y="77"/>
                    <a:pt x="575" y="80"/>
                    <a:pt x="577" y="82"/>
                  </a:cubicBezTo>
                  <a:cubicBezTo>
                    <a:pt x="578" y="85"/>
                    <a:pt x="579" y="88"/>
                    <a:pt x="579" y="92"/>
                  </a:cubicBezTo>
                  <a:cubicBezTo>
                    <a:pt x="579" y="95"/>
                    <a:pt x="578" y="98"/>
                    <a:pt x="577" y="101"/>
                  </a:cubicBezTo>
                  <a:cubicBezTo>
                    <a:pt x="575" y="104"/>
                    <a:pt x="573" y="106"/>
                    <a:pt x="571" y="109"/>
                  </a:cubicBezTo>
                  <a:cubicBezTo>
                    <a:pt x="568" y="111"/>
                    <a:pt x="565" y="112"/>
                    <a:pt x="561" y="114"/>
                  </a:cubicBezTo>
                  <a:cubicBezTo>
                    <a:pt x="557" y="115"/>
                    <a:pt x="553" y="116"/>
                    <a:pt x="548" y="116"/>
                  </a:cubicBezTo>
                  <a:cubicBezTo>
                    <a:pt x="543" y="116"/>
                    <a:pt x="538" y="115"/>
                    <a:pt x="532" y="113"/>
                  </a:cubicBezTo>
                  <a:cubicBezTo>
                    <a:pt x="527" y="110"/>
                    <a:pt x="523" y="108"/>
                    <a:pt x="519" y="105"/>
                  </a:cubicBezTo>
                  <a:lnTo>
                    <a:pt x="527" y="93"/>
                  </a:lnTo>
                  <a:close/>
                  <a:moveTo>
                    <a:pt x="459" y="93"/>
                  </a:moveTo>
                  <a:cubicBezTo>
                    <a:pt x="463" y="96"/>
                    <a:pt x="466" y="98"/>
                    <a:pt x="470" y="100"/>
                  </a:cubicBezTo>
                  <a:cubicBezTo>
                    <a:pt x="473" y="101"/>
                    <a:pt x="477" y="102"/>
                    <a:pt x="481" y="102"/>
                  </a:cubicBezTo>
                  <a:cubicBezTo>
                    <a:pt x="485" y="102"/>
                    <a:pt x="488" y="101"/>
                    <a:pt x="490" y="99"/>
                  </a:cubicBezTo>
                  <a:cubicBezTo>
                    <a:pt x="492" y="97"/>
                    <a:pt x="493" y="95"/>
                    <a:pt x="493" y="92"/>
                  </a:cubicBezTo>
                  <a:cubicBezTo>
                    <a:pt x="493" y="91"/>
                    <a:pt x="493" y="89"/>
                    <a:pt x="492" y="88"/>
                  </a:cubicBezTo>
                  <a:cubicBezTo>
                    <a:pt x="491" y="87"/>
                    <a:pt x="489" y="86"/>
                    <a:pt x="488" y="85"/>
                  </a:cubicBezTo>
                  <a:cubicBezTo>
                    <a:pt x="486" y="84"/>
                    <a:pt x="484" y="83"/>
                    <a:pt x="482" y="82"/>
                  </a:cubicBezTo>
                  <a:cubicBezTo>
                    <a:pt x="480" y="82"/>
                    <a:pt x="478" y="81"/>
                    <a:pt x="476" y="80"/>
                  </a:cubicBezTo>
                  <a:cubicBezTo>
                    <a:pt x="474" y="79"/>
                    <a:pt x="471" y="78"/>
                    <a:pt x="469" y="77"/>
                  </a:cubicBezTo>
                  <a:cubicBezTo>
                    <a:pt x="466" y="75"/>
                    <a:pt x="464" y="74"/>
                    <a:pt x="462" y="72"/>
                  </a:cubicBezTo>
                  <a:cubicBezTo>
                    <a:pt x="460" y="70"/>
                    <a:pt x="458" y="68"/>
                    <a:pt x="457" y="66"/>
                  </a:cubicBezTo>
                  <a:cubicBezTo>
                    <a:pt x="455" y="63"/>
                    <a:pt x="455" y="61"/>
                    <a:pt x="455" y="57"/>
                  </a:cubicBezTo>
                  <a:cubicBezTo>
                    <a:pt x="455" y="50"/>
                    <a:pt x="457" y="45"/>
                    <a:pt x="462" y="41"/>
                  </a:cubicBezTo>
                  <a:cubicBezTo>
                    <a:pt x="467" y="36"/>
                    <a:pt x="474" y="34"/>
                    <a:pt x="483" y="34"/>
                  </a:cubicBezTo>
                  <a:cubicBezTo>
                    <a:pt x="488" y="34"/>
                    <a:pt x="493" y="35"/>
                    <a:pt x="497" y="37"/>
                  </a:cubicBezTo>
                  <a:cubicBezTo>
                    <a:pt x="502" y="39"/>
                    <a:pt x="506" y="41"/>
                    <a:pt x="509" y="43"/>
                  </a:cubicBezTo>
                  <a:lnTo>
                    <a:pt x="500" y="54"/>
                  </a:lnTo>
                  <a:cubicBezTo>
                    <a:pt x="498" y="52"/>
                    <a:pt x="495" y="51"/>
                    <a:pt x="492" y="50"/>
                  </a:cubicBezTo>
                  <a:cubicBezTo>
                    <a:pt x="489" y="48"/>
                    <a:pt x="486" y="48"/>
                    <a:pt x="483" y="48"/>
                  </a:cubicBezTo>
                  <a:cubicBezTo>
                    <a:pt x="479" y="48"/>
                    <a:pt x="476" y="49"/>
                    <a:pt x="475" y="50"/>
                  </a:cubicBezTo>
                  <a:cubicBezTo>
                    <a:pt x="473" y="52"/>
                    <a:pt x="472" y="54"/>
                    <a:pt x="472" y="56"/>
                  </a:cubicBezTo>
                  <a:cubicBezTo>
                    <a:pt x="472" y="58"/>
                    <a:pt x="472" y="59"/>
                    <a:pt x="473" y="60"/>
                  </a:cubicBezTo>
                  <a:cubicBezTo>
                    <a:pt x="474" y="62"/>
                    <a:pt x="475" y="63"/>
                    <a:pt x="477" y="63"/>
                  </a:cubicBezTo>
                  <a:cubicBezTo>
                    <a:pt x="478" y="64"/>
                    <a:pt x="480" y="65"/>
                    <a:pt x="482" y="66"/>
                  </a:cubicBezTo>
                  <a:cubicBezTo>
                    <a:pt x="484" y="66"/>
                    <a:pt x="486" y="67"/>
                    <a:pt x="488" y="68"/>
                  </a:cubicBezTo>
                  <a:cubicBezTo>
                    <a:pt x="491" y="69"/>
                    <a:pt x="493" y="70"/>
                    <a:pt x="496" y="71"/>
                  </a:cubicBezTo>
                  <a:cubicBezTo>
                    <a:pt x="499" y="72"/>
                    <a:pt x="501" y="74"/>
                    <a:pt x="503" y="76"/>
                  </a:cubicBezTo>
                  <a:cubicBezTo>
                    <a:pt x="505" y="77"/>
                    <a:pt x="507" y="80"/>
                    <a:pt x="508" y="82"/>
                  </a:cubicBezTo>
                  <a:cubicBezTo>
                    <a:pt x="510" y="85"/>
                    <a:pt x="510" y="88"/>
                    <a:pt x="510" y="92"/>
                  </a:cubicBezTo>
                  <a:cubicBezTo>
                    <a:pt x="510" y="95"/>
                    <a:pt x="510" y="98"/>
                    <a:pt x="508" y="101"/>
                  </a:cubicBezTo>
                  <a:cubicBezTo>
                    <a:pt x="507" y="104"/>
                    <a:pt x="505" y="106"/>
                    <a:pt x="503" y="109"/>
                  </a:cubicBezTo>
                  <a:cubicBezTo>
                    <a:pt x="500" y="111"/>
                    <a:pt x="497" y="112"/>
                    <a:pt x="493" y="114"/>
                  </a:cubicBezTo>
                  <a:cubicBezTo>
                    <a:pt x="489" y="115"/>
                    <a:pt x="485" y="116"/>
                    <a:pt x="480" y="116"/>
                  </a:cubicBezTo>
                  <a:cubicBezTo>
                    <a:pt x="475" y="116"/>
                    <a:pt x="469" y="115"/>
                    <a:pt x="464" y="113"/>
                  </a:cubicBezTo>
                  <a:cubicBezTo>
                    <a:pt x="459" y="110"/>
                    <a:pt x="454" y="108"/>
                    <a:pt x="451" y="105"/>
                  </a:cubicBezTo>
                  <a:lnTo>
                    <a:pt x="459" y="93"/>
                  </a:lnTo>
                  <a:close/>
                  <a:moveTo>
                    <a:pt x="390" y="91"/>
                  </a:moveTo>
                  <a:cubicBezTo>
                    <a:pt x="390" y="95"/>
                    <a:pt x="391" y="97"/>
                    <a:pt x="393" y="99"/>
                  </a:cubicBezTo>
                  <a:cubicBezTo>
                    <a:pt x="395" y="101"/>
                    <a:pt x="398" y="101"/>
                    <a:pt x="401" y="101"/>
                  </a:cubicBezTo>
                  <a:cubicBezTo>
                    <a:pt x="404" y="101"/>
                    <a:pt x="407" y="101"/>
                    <a:pt x="410" y="99"/>
                  </a:cubicBezTo>
                  <a:cubicBezTo>
                    <a:pt x="412" y="98"/>
                    <a:pt x="415" y="96"/>
                    <a:pt x="418" y="93"/>
                  </a:cubicBezTo>
                  <a:lnTo>
                    <a:pt x="418" y="75"/>
                  </a:lnTo>
                  <a:cubicBezTo>
                    <a:pt x="413" y="76"/>
                    <a:pt x="408" y="77"/>
                    <a:pt x="405" y="78"/>
                  </a:cubicBezTo>
                  <a:cubicBezTo>
                    <a:pt x="401" y="79"/>
                    <a:pt x="398" y="80"/>
                    <a:pt x="396" y="81"/>
                  </a:cubicBezTo>
                  <a:cubicBezTo>
                    <a:pt x="394" y="83"/>
                    <a:pt x="392" y="84"/>
                    <a:pt x="391" y="86"/>
                  </a:cubicBezTo>
                  <a:cubicBezTo>
                    <a:pt x="390" y="88"/>
                    <a:pt x="390" y="89"/>
                    <a:pt x="390" y="91"/>
                  </a:cubicBezTo>
                  <a:close/>
                  <a:moveTo>
                    <a:pt x="372" y="93"/>
                  </a:moveTo>
                  <a:cubicBezTo>
                    <a:pt x="372" y="84"/>
                    <a:pt x="376" y="78"/>
                    <a:pt x="383" y="73"/>
                  </a:cubicBezTo>
                  <a:cubicBezTo>
                    <a:pt x="390" y="69"/>
                    <a:pt x="402" y="66"/>
                    <a:pt x="418" y="64"/>
                  </a:cubicBezTo>
                  <a:cubicBezTo>
                    <a:pt x="418" y="62"/>
                    <a:pt x="418" y="60"/>
                    <a:pt x="417" y="58"/>
                  </a:cubicBezTo>
                  <a:cubicBezTo>
                    <a:pt x="417" y="56"/>
                    <a:pt x="416" y="55"/>
                    <a:pt x="415" y="53"/>
                  </a:cubicBezTo>
                  <a:cubicBezTo>
                    <a:pt x="414" y="52"/>
                    <a:pt x="412" y="51"/>
                    <a:pt x="410" y="50"/>
                  </a:cubicBezTo>
                  <a:cubicBezTo>
                    <a:pt x="409" y="49"/>
                    <a:pt x="407" y="49"/>
                    <a:pt x="404" y="49"/>
                  </a:cubicBezTo>
                  <a:cubicBezTo>
                    <a:pt x="400" y="49"/>
                    <a:pt x="396" y="50"/>
                    <a:pt x="393" y="51"/>
                  </a:cubicBezTo>
                  <a:cubicBezTo>
                    <a:pt x="389" y="52"/>
                    <a:pt x="385" y="54"/>
                    <a:pt x="382" y="56"/>
                  </a:cubicBezTo>
                  <a:lnTo>
                    <a:pt x="375" y="44"/>
                  </a:lnTo>
                  <a:cubicBezTo>
                    <a:pt x="380" y="41"/>
                    <a:pt x="385" y="39"/>
                    <a:pt x="390" y="37"/>
                  </a:cubicBezTo>
                  <a:cubicBezTo>
                    <a:pt x="395" y="35"/>
                    <a:pt x="401" y="34"/>
                    <a:pt x="407" y="34"/>
                  </a:cubicBezTo>
                  <a:cubicBezTo>
                    <a:pt x="417" y="34"/>
                    <a:pt x="424" y="37"/>
                    <a:pt x="429" y="43"/>
                  </a:cubicBezTo>
                  <a:cubicBezTo>
                    <a:pt x="434" y="48"/>
                    <a:pt x="436" y="57"/>
                    <a:pt x="436" y="68"/>
                  </a:cubicBezTo>
                  <a:lnTo>
                    <a:pt x="436" y="114"/>
                  </a:lnTo>
                  <a:lnTo>
                    <a:pt x="421" y="114"/>
                  </a:lnTo>
                  <a:lnTo>
                    <a:pt x="420" y="105"/>
                  </a:lnTo>
                  <a:lnTo>
                    <a:pt x="419" y="105"/>
                  </a:lnTo>
                  <a:cubicBezTo>
                    <a:pt x="416" y="108"/>
                    <a:pt x="412" y="111"/>
                    <a:pt x="408" y="113"/>
                  </a:cubicBezTo>
                  <a:cubicBezTo>
                    <a:pt x="404" y="115"/>
                    <a:pt x="400" y="116"/>
                    <a:pt x="395" y="116"/>
                  </a:cubicBezTo>
                  <a:cubicBezTo>
                    <a:pt x="388" y="116"/>
                    <a:pt x="383" y="114"/>
                    <a:pt x="379" y="109"/>
                  </a:cubicBezTo>
                  <a:cubicBezTo>
                    <a:pt x="374" y="105"/>
                    <a:pt x="372" y="100"/>
                    <a:pt x="372" y="93"/>
                  </a:cubicBezTo>
                  <a:close/>
                  <a:moveTo>
                    <a:pt x="242" y="10"/>
                  </a:moveTo>
                  <a:lnTo>
                    <a:pt x="261" y="10"/>
                  </a:lnTo>
                  <a:lnTo>
                    <a:pt x="270" y="62"/>
                  </a:lnTo>
                  <a:cubicBezTo>
                    <a:pt x="271" y="68"/>
                    <a:pt x="272" y="74"/>
                    <a:pt x="273" y="79"/>
                  </a:cubicBezTo>
                  <a:cubicBezTo>
                    <a:pt x="274" y="85"/>
                    <a:pt x="274" y="90"/>
                    <a:pt x="275" y="95"/>
                  </a:cubicBezTo>
                  <a:lnTo>
                    <a:pt x="276" y="95"/>
                  </a:lnTo>
                  <a:cubicBezTo>
                    <a:pt x="277" y="90"/>
                    <a:pt x="278" y="84"/>
                    <a:pt x="279" y="79"/>
                  </a:cubicBezTo>
                  <a:cubicBezTo>
                    <a:pt x="280" y="73"/>
                    <a:pt x="282" y="68"/>
                    <a:pt x="283" y="62"/>
                  </a:cubicBezTo>
                  <a:lnTo>
                    <a:pt x="295" y="10"/>
                  </a:lnTo>
                  <a:lnTo>
                    <a:pt x="311" y="10"/>
                  </a:lnTo>
                  <a:lnTo>
                    <a:pt x="324" y="62"/>
                  </a:lnTo>
                  <a:cubicBezTo>
                    <a:pt x="325" y="68"/>
                    <a:pt x="326" y="73"/>
                    <a:pt x="328" y="79"/>
                  </a:cubicBezTo>
                  <a:cubicBezTo>
                    <a:pt x="329" y="84"/>
                    <a:pt x="330" y="90"/>
                    <a:pt x="331" y="95"/>
                  </a:cubicBezTo>
                  <a:lnTo>
                    <a:pt x="332" y="95"/>
                  </a:lnTo>
                  <a:cubicBezTo>
                    <a:pt x="333" y="90"/>
                    <a:pt x="333" y="84"/>
                    <a:pt x="334" y="79"/>
                  </a:cubicBezTo>
                  <a:cubicBezTo>
                    <a:pt x="335" y="73"/>
                    <a:pt x="336" y="68"/>
                    <a:pt x="337" y="62"/>
                  </a:cubicBezTo>
                  <a:lnTo>
                    <a:pt x="346" y="10"/>
                  </a:lnTo>
                  <a:lnTo>
                    <a:pt x="363" y="10"/>
                  </a:lnTo>
                  <a:lnTo>
                    <a:pt x="343" y="114"/>
                  </a:lnTo>
                  <a:lnTo>
                    <a:pt x="321" y="114"/>
                  </a:lnTo>
                  <a:lnTo>
                    <a:pt x="308" y="59"/>
                  </a:lnTo>
                  <a:cubicBezTo>
                    <a:pt x="307" y="55"/>
                    <a:pt x="306" y="51"/>
                    <a:pt x="305" y="47"/>
                  </a:cubicBezTo>
                  <a:cubicBezTo>
                    <a:pt x="305" y="43"/>
                    <a:pt x="304" y="39"/>
                    <a:pt x="303" y="35"/>
                  </a:cubicBezTo>
                  <a:lnTo>
                    <a:pt x="303" y="35"/>
                  </a:lnTo>
                  <a:cubicBezTo>
                    <a:pt x="302" y="39"/>
                    <a:pt x="301" y="43"/>
                    <a:pt x="300" y="47"/>
                  </a:cubicBezTo>
                  <a:cubicBezTo>
                    <a:pt x="299" y="51"/>
                    <a:pt x="299" y="55"/>
                    <a:pt x="298" y="59"/>
                  </a:cubicBezTo>
                  <a:lnTo>
                    <a:pt x="285" y="114"/>
                  </a:lnTo>
                  <a:lnTo>
                    <a:pt x="263" y="114"/>
                  </a:lnTo>
                  <a:lnTo>
                    <a:pt x="242" y="10"/>
                  </a:lnTo>
                  <a:close/>
                  <a:moveTo>
                    <a:pt x="185" y="68"/>
                  </a:moveTo>
                  <a:cubicBezTo>
                    <a:pt x="185" y="62"/>
                    <a:pt x="184" y="57"/>
                    <a:pt x="182" y="53"/>
                  </a:cubicBezTo>
                  <a:cubicBezTo>
                    <a:pt x="179" y="50"/>
                    <a:pt x="175" y="48"/>
                    <a:pt x="170" y="48"/>
                  </a:cubicBezTo>
                  <a:cubicBezTo>
                    <a:pt x="165" y="48"/>
                    <a:pt x="161" y="50"/>
                    <a:pt x="157" y="53"/>
                  </a:cubicBezTo>
                  <a:cubicBezTo>
                    <a:pt x="154" y="56"/>
                    <a:pt x="152" y="61"/>
                    <a:pt x="151" y="68"/>
                  </a:cubicBezTo>
                  <a:lnTo>
                    <a:pt x="185" y="68"/>
                  </a:lnTo>
                  <a:close/>
                  <a:moveTo>
                    <a:pt x="133" y="75"/>
                  </a:moveTo>
                  <a:cubicBezTo>
                    <a:pt x="133" y="69"/>
                    <a:pt x="134" y="63"/>
                    <a:pt x="136" y="58"/>
                  </a:cubicBezTo>
                  <a:cubicBezTo>
                    <a:pt x="138" y="53"/>
                    <a:pt x="141" y="48"/>
                    <a:pt x="144" y="45"/>
                  </a:cubicBezTo>
                  <a:cubicBezTo>
                    <a:pt x="148" y="41"/>
                    <a:pt x="151" y="39"/>
                    <a:pt x="156" y="37"/>
                  </a:cubicBezTo>
                  <a:cubicBezTo>
                    <a:pt x="160" y="35"/>
                    <a:pt x="165" y="34"/>
                    <a:pt x="169" y="34"/>
                  </a:cubicBezTo>
                  <a:cubicBezTo>
                    <a:pt x="174" y="34"/>
                    <a:pt x="179" y="35"/>
                    <a:pt x="183" y="37"/>
                  </a:cubicBezTo>
                  <a:cubicBezTo>
                    <a:pt x="187" y="39"/>
                    <a:pt x="190" y="41"/>
                    <a:pt x="193" y="44"/>
                  </a:cubicBezTo>
                  <a:cubicBezTo>
                    <a:pt x="196" y="48"/>
                    <a:pt x="198" y="52"/>
                    <a:pt x="199" y="56"/>
                  </a:cubicBezTo>
                  <a:cubicBezTo>
                    <a:pt x="201" y="61"/>
                    <a:pt x="201" y="66"/>
                    <a:pt x="201" y="71"/>
                  </a:cubicBezTo>
                  <a:cubicBezTo>
                    <a:pt x="201" y="75"/>
                    <a:pt x="201" y="77"/>
                    <a:pt x="200" y="79"/>
                  </a:cubicBezTo>
                  <a:lnTo>
                    <a:pt x="151" y="79"/>
                  </a:lnTo>
                  <a:cubicBezTo>
                    <a:pt x="152" y="87"/>
                    <a:pt x="154" y="92"/>
                    <a:pt x="158" y="96"/>
                  </a:cubicBezTo>
                  <a:cubicBezTo>
                    <a:pt x="162" y="100"/>
                    <a:pt x="168" y="101"/>
                    <a:pt x="174" y="101"/>
                  </a:cubicBezTo>
                  <a:cubicBezTo>
                    <a:pt x="177" y="101"/>
                    <a:pt x="181" y="101"/>
                    <a:pt x="183" y="100"/>
                  </a:cubicBezTo>
                  <a:cubicBezTo>
                    <a:pt x="186" y="99"/>
                    <a:pt x="189" y="98"/>
                    <a:pt x="192" y="96"/>
                  </a:cubicBezTo>
                  <a:lnTo>
                    <a:pt x="198" y="107"/>
                  </a:lnTo>
                  <a:cubicBezTo>
                    <a:pt x="195" y="110"/>
                    <a:pt x="190" y="112"/>
                    <a:pt x="186" y="113"/>
                  </a:cubicBezTo>
                  <a:cubicBezTo>
                    <a:pt x="181" y="115"/>
                    <a:pt x="177" y="116"/>
                    <a:pt x="172" y="116"/>
                  </a:cubicBezTo>
                  <a:cubicBezTo>
                    <a:pt x="166" y="116"/>
                    <a:pt x="161" y="115"/>
                    <a:pt x="157" y="113"/>
                  </a:cubicBezTo>
                  <a:cubicBezTo>
                    <a:pt x="152" y="111"/>
                    <a:pt x="148" y="108"/>
                    <a:pt x="144" y="105"/>
                  </a:cubicBezTo>
                  <a:cubicBezTo>
                    <a:pt x="141" y="101"/>
                    <a:pt x="138" y="97"/>
                    <a:pt x="136" y="92"/>
                  </a:cubicBezTo>
                  <a:cubicBezTo>
                    <a:pt x="134" y="87"/>
                    <a:pt x="133" y="81"/>
                    <a:pt x="133" y="75"/>
                  </a:cubicBezTo>
                  <a:close/>
                  <a:moveTo>
                    <a:pt x="97" y="36"/>
                  </a:moveTo>
                  <a:lnTo>
                    <a:pt x="115" y="36"/>
                  </a:lnTo>
                  <a:lnTo>
                    <a:pt x="115" y="114"/>
                  </a:lnTo>
                  <a:lnTo>
                    <a:pt x="97" y="114"/>
                  </a:lnTo>
                  <a:lnTo>
                    <a:pt x="97" y="36"/>
                  </a:lnTo>
                  <a:close/>
                  <a:moveTo>
                    <a:pt x="106" y="22"/>
                  </a:moveTo>
                  <a:cubicBezTo>
                    <a:pt x="103" y="22"/>
                    <a:pt x="100" y="21"/>
                    <a:pt x="98" y="19"/>
                  </a:cubicBezTo>
                  <a:cubicBezTo>
                    <a:pt x="96" y="18"/>
                    <a:pt x="95" y="15"/>
                    <a:pt x="95" y="12"/>
                  </a:cubicBezTo>
                  <a:cubicBezTo>
                    <a:pt x="95" y="9"/>
                    <a:pt x="96" y="6"/>
                    <a:pt x="98" y="5"/>
                  </a:cubicBezTo>
                  <a:cubicBezTo>
                    <a:pt x="100" y="3"/>
                    <a:pt x="103" y="2"/>
                    <a:pt x="106" y="2"/>
                  </a:cubicBezTo>
                  <a:cubicBezTo>
                    <a:pt x="109" y="2"/>
                    <a:pt x="112" y="3"/>
                    <a:pt x="114" y="5"/>
                  </a:cubicBezTo>
                  <a:cubicBezTo>
                    <a:pt x="116" y="6"/>
                    <a:pt x="117" y="9"/>
                    <a:pt x="117" y="12"/>
                  </a:cubicBezTo>
                  <a:cubicBezTo>
                    <a:pt x="117" y="15"/>
                    <a:pt x="116" y="18"/>
                    <a:pt x="114" y="19"/>
                  </a:cubicBezTo>
                  <a:cubicBezTo>
                    <a:pt x="112" y="21"/>
                    <a:pt x="109" y="22"/>
                    <a:pt x="106" y="22"/>
                  </a:cubicBezTo>
                  <a:close/>
                  <a:moveTo>
                    <a:pt x="26" y="99"/>
                  </a:moveTo>
                  <a:cubicBezTo>
                    <a:pt x="37" y="99"/>
                    <a:pt x="45" y="96"/>
                    <a:pt x="50" y="90"/>
                  </a:cubicBezTo>
                  <a:cubicBezTo>
                    <a:pt x="56" y="84"/>
                    <a:pt x="59" y="74"/>
                    <a:pt x="59" y="61"/>
                  </a:cubicBezTo>
                  <a:cubicBezTo>
                    <a:pt x="59" y="49"/>
                    <a:pt x="56" y="40"/>
                    <a:pt x="50" y="34"/>
                  </a:cubicBezTo>
                  <a:cubicBezTo>
                    <a:pt x="44" y="28"/>
                    <a:pt x="36" y="25"/>
                    <a:pt x="26" y="25"/>
                  </a:cubicBezTo>
                  <a:lnTo>
                    <a:pt x="18" y="25"/>
                  </a:lnTo>
                  <a:lnTo>
                    <a:pt x="18" y="99"/>
                  </a:lnTo>
                  <a:lnTo>
                    <a:pt x="26" y="99"/>
                  </a:lnTo>
                  <a:close/>
                  <a:moveTo>
                    <a:pt x="0" y="10"/>
                  </a:moveTo>
                  <a:lnTo>
                    <a:pt x="27" y="10"/>
                  </a:lnTo>
                  <a:cubicBezTo>
                    <a:pt x="43" y="10"/>
                    <a:pt x="55" y="14"/>
                    <a:pt x="64" y="23"/>
                  </a:cubicBezTo>
                  <a:cubicBezTo>
                    <a:pt x="73" y="32"/>
                    <a:pt x="78" y="44"/>
                    <a:pt x="78" y="61"/>
                  </a:cubicBezTo>
                  <a:cubicBezTo>
                    <a:pt x="78" y="70"/>
                    <a:pt x="76" y="78"/>
                    <a:pt x="74" y="84"/>
                  </a:cubicBezTo>
                  <a:cubicBezTo>
                    <a:pt x="72" y="91"/>
                    <a:pt x="69" y="96"/>
                    <a:pt x="64" y="100"/>
                  </a:cubicBezTo>
                  <a:cubicBezTo>
                    <a:pt x="60" y="105"/>
                    <a:pt x="55" y="108"/>
                    <a:pt x="49" y="110"/>
                  </a:cubicBezTo>
                  <a:cubicBezTo>
                    <a:pt x="43" y="113"/>
                    <a:pt x="36" y="114"/>
                    <a:pt x="28" y="114"/>
                  </a:cubicBezTo>
                  <a:lnTo>
                    <a:pt x="0" y="114"/>
                  </a:lnTo>
                  <a:lnTo>
                    <a:pt x="0" y="1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66">
              <a:extLst>
                <a:ext uri="{FF2B5EF4-FFF2-40B4-BE49-F238E27FC236}">
                  <a16:creationId xmlns:a16="http://schemas.microsoft.com/office/drawing/2014/main" id="{AFDF1DFF-EFE5-43C1-BC5A-AE41501451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1165" y="2208066"/>
              <a:ext cx="17499" cy="89084"/>
            </a:xfrm>
            <a:custGeom>
              <a:avLst/>
              <a:gdLst>
                <a:gd name="T0" fmla="*/ 2 w 22"/>
                <a:gd name="T1" fmla="*/ 34 h 112"/>
                <a:gd name="T2" fmla="*/ 20 w 22"/>
                <a:gd name="T3" fmla="*/ 34 h 112"/>
                <a:gd name="T4" fmla="*/ 20 w 22"/>
                <a:gd name="T5" fmla="*/ 112 h 112"/>
                <a:gd name="T6" fmla="*/ 2 w 22"/>
                <a:gd name="T7" fmla="*/ 112 h 112"/>
                <a:gd name="T8" fmla="*/ 2 w 22"/>
                <a:gd name="T9" fmla="*/ 34 h 112"/>
                <a:gd name="T10" fmla="*/ 11 w 22"/>
                <a:gd name="T11" fmla="*/ 21 h 112"/>
                <a:gd name="T12" fmla="*/ 3 w 22"/>
                <a:gd name="T13" fmla="*/ 18 h 112"/>
                <a:gd name="T14" fmla="*/ 0 w 22"/>
                <a:gd name="T15" fmla="*/ 10 h 112"/>
                <a:gd name="T16" fmla="*/ 3 w 22"/>
                <a:gd name="T17" fmla="*/ 3 h 112"/>
                <a:gd name="T18" fmla="*/ 11 w 22"/>
                <a:gd name="T19" fmla="*/ 0 h 112"/>
                <a:gd name="T20" fmla="*/ 19 w 22"/>
                <a:gd name="T21" fmla="*/ 3 h 112"/>
                <a:gd name="T22" fmla="*/ 22 w 22"/>
                <a:gd name="T23" fmla="*/ 10 h 112"/>
                <a:gd name="T24" fmla="*/ 19 w 22"/>
                <a:gd name="T25" fmla="*/ 18 h 112"/>
                <a:gd name="T26" fmla="*/ 11 w 22"/>
                <a:gd name="T27" fmla="*/ 2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112">
                  <a:moveTo>
                    <a:pt x="2" y="34"/>
                  </a:moveTo>
                  <a:lnTo>
                    <a:pt x="20" y="34"/>
                  </a:lnTo>
                  <a:lnTo>
                    <a:pt x="20" y="112"/>
                  </a:lnTo>
                  <a:lnTo>
                    <a:pt x="2" y="112"/>
                  </a:lnTo>
                  <a:lnTo>
                    <a:pt x="2" y="34"/>
                  </a:lnTo>
                  <a:close/>
                  <a:moveTo>
                    <a:pt x="11" y="21"/>
                  </a:moveTo>
                  <a:cubicBezTo>
                    <a:pt x="8" y="21"/>
                    <a:pt x="5" y="20"/>
                    <a:pt x="3" y="18"/>
                  </a:cubicBezTo>
                  <a:cubicBezTo>
                    <a:pt x="1" y="16"/>
                    <a:pt x="0" y="13"/>
                    <a:pt x="0" y="10"/>
                  </a:cubicBezTo>
                  <a:cubicBezTo>
                    <a:pt x="0" y="7"/>
                    <a:pt x="1" y="5"/>
                    <a:pt x="3" y="3"/>
                  </a:cubicBezTo>
                  <a:cubicBezTo>
                    <a:pt x="5" y="1"/>
                    <a:pt x="8" y="0"/>
                    <a:pt x="11" y="0"/>
                  </a:cubicBezTo>
                  <a:cubicBezTo>
                    <a:pt x="14" y="0"/>
                    <a:pt x="17" y="1"/>
                    <a:pt x="19" y="3"/>
                  </a:cubicBezTo>
                  <a:cubicBezTo>
                    <a:pt x="21" y="5"/>
                    <a:pt x="22" y="7"/>
                    <a:pt x="22" y="10"/>
                  </a:cubicBezTo>
                  <a:cubicBezTo>
                    <a:pt x="22" y="13"/>
                    <a:pt x="21" y="16"/>
                    <a:pt x="19" y="18"/>
                  </a:cubicBezTo>
                  <a:cubicBezTo>
                    <a:pt x="17" y="20"/>
                    <a:pt x="14" y="21"/>
                    <a:pt x="11" y="2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67">
              <a:extLst>
                <a:ext uri="{FF2B5EF4-FFF2-40B4-BE49-F238E27FC236}">
                  <a16:creationId xmlns:a16="http://schemas.microsoft.com/office/drawing/2014/main" id="{22D8D734-D3E2-4822-8398-2EB8569B0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6163" y="2233519"/>
              <a:ext cx="89084" cy="63632"/>
            </a:xfrm>
            <a:custGeom>
              <a:avLst/>
              <a:gdLst>
                <a:gd name="T0" fmla="*/ 0 w 111"/>
                <a:gd name="T1" fmla="*/ 2 h 80"/>
                <a:gd name="T2" fmla="*/ 15 w 111"/>
                <a:gd name="T3" fmla="*/ 2 h 80"/>
                <a:gd name="T4" fmla="*/ 16 w 111"/>
                <a:gd name="T5" fmla="*/ 13 h 80"/>
                <a:gd name="T6" fmla="*/ 17 w 111"/>
                <a:gd name="T7" fmla="*/ 13 h 80"/>
                <a:gd name="T8" fmla="*/ 28 w 111"/>
                <a:gd name="T9" fmla="*/ 4 h 80"/>
                <a:gd name="T10" fmla="*/ 41 w 111"/>
                <a:gd name="T11" fmla="*/ 0 h 80"/>
                <a:gd name="T12" fmla="*/ 54 w 111"/>
                <a:gd name="T13" fmla="*/ 4 h 80"/>
                <a:gd name="T14" fmla="*/ 62 w 111"/>
                <a:gd name="T15" fmla="*/ 14 h 80"/>
                <a:gd name="T16" fmla="*/ 74 w 111"/>
                <a:gd name="T17" fmla="*/ 4 h 80"/>
                <a:gd name="T18" fmla="*/ 87 w 111"/>
                <a:gd name="T19" fmla="*/ 0 h 80"/>
                <a:gd name="T20" fmla="*/ 106 w 111"/>
                <a:gd name="T21" fmla="*/ 8 h 80"/>
                <a:gd name="T22" fmla="*/ 111 w 111"/>
                <a:gd name="T23" fmla="*/ 31 h 80"/>
                <a:gd name="T24" fmla="*/ 111 w 111"/>
                <a:gd name="T25" fmla="*/ 80 h 80"/>
                <a:gd name="T26" fmla="*/ 93 w 111"/>
                <a:gd name="T27" fmla="*/ 80 h 80"/>
                <a:gd name="T28" fmla="*/ 93 w 111"/>
                <a:gd name="T29" fmla="*/ 34 h 80"/>
                <a:gd name="T30" fmla="*/ 90 w 111"/>
                <a:gd name="T31" fmla="*/ 20 h 80"/>
                <a:gd name="T32" fmla="*/ 81 w 111"/>
                <a:gd name="T33" fmla="*/ 16 h 80"/>
                <a:gd name="T34" fmla="*/ 65 w 111"/>
                <a:gd name="T35" fmla="*/ 26 h 80"/>
                <a:gd name="T36" fmla="*/ 65 w 111"/>
                <a:gd name="T37" fmla="*/ 80 h 80"/>
                <a:gd name="T38" fmla="*/ 47 w 111"/>
                <a:gd name="T39" fmla="*/ 80 h 80"/>
                <a:gd name="T40" fmla="*/ 47 w 111"/>
                <a:gd name="T41" fmla="*/ 34 h 80"/>
                <a:gd name="T42" fmla="*/ 44 w 111"/>
                <a:gd name="T43" fmla="*/ 20 h 80"/>
                <a:gd name="T44" fmla="*/ 35 w 111"/>
                <a:gd name="T45" fmla="*/ 16 h 80"/>
                <a:gd name="T46" fmla="*/ 18 w 111"/>
                <a:gd name="T47" fmla="*/ 26 h 80"/>
                <a:gd name="T48" fmla="*/ 18 w 111"/>
                <a:gd name="T49" fmla="*/ 80 h 80"/>
                <a:gd name="T50" fmla="*/ 0 w 111"/>
                <a:gd name="T51" fmla="*/ 80 h 80"/>
                <a:gd name="T52" fmla="*/ 0 w 111"/>
                <a:gd name="T53" fmla="*/ 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1" h="80">
                  <a:moveTo>
                    <a:pt x="0" y="2"/>
                  </a:moveTo>
                  <a:lnTo>
                    <a:pt x="15" y="2"/>
                  </a:lnTo>
                  <a:lnTo>
                    <a:pt x="16" y="13"/>
                  </a:lnTo>
                  <a:lnTo>
                    <a:pt x="17" y="13"/>
                  </a:lnTo>
                  <a:cubicBezTo>
                    <a:pt x="20" y="9"/>
                    <a:pt x="24" y="6"/>
                    <a:pt x="28" y="4"/>
                  </a:cubicBezTo>
                  <a:cubicBezTo>
                    <a:pt x="32" y="2"/>
                    <a:pt x="36" y="0"/>
                    <a:pt x="41" y="0"/>
                  </a:cubicBezTo>
                  <a:cubicBezTo>
                    <a:pt x="46" y="0"/>
                    <a:pt x="51" y="2"/>
                    <a:pt x="54" y="4"/>
                  </a:cubicBezTo>
                  <a:cubicBezTo>
                    <a:pt x="58" y="6"/>
                    <a:pt x="61" y="10"/>
                    <a:pt x="62" y="14"/>
                  </a:cubicBezTo>
                  <a:cubicBezTo>
                    <a:pt x="66" y="10"/>
                    <a:pt x="70" y="7"/>
                    <a:pt x="74" y="4"/>
                  </a:cubicBezTo>
                  <a:cubicBezTo>
                    <a:pt x="78" y="2"/>
                    <a:pt x="82" y="0"/>
                    <a:pt x="87" y="0"/>
                  </a:cubicBezTo>
                  <a:cubicBezTo>
                    <a:pt x="96" y="0"/>
                    <a:pt x="102" y="3"/>
                    <a:pt x="106" y="8"/>
                  </a:cubicBezTo>
                  <a:cubicBezTo>
                    <a:pt x="109" y="14"/>
                    <a:pt x="111" y="21"/>
                    <a:pt x="111" y="31"/>
                  </a:cubicBezTo>
                  <a:lnTo>
                    <a:pt x="111" y="80"/>
                  </a:lnTo>
                  <a:lnTo>
                    <a:pt x="93" y="80"/>
                  </a:lnTo>
                  <a:lnTo>
                    <a:pt x="93" y="34"/>
                  </a:lnTo>
                  <a:cubicBezTo>
                    <a:pt x="93" y="27"/>
                    <a:pt x="92" y="23"/>
                    <a:pt x="90" y="20"/>
                  </a:cubicBezTo>
                  <a:cubicBezTo>
                    <a:pt x="88" y="17"/>
                    <a:pt x="85" y="16"/>
                    <a:pt x="81" y="16"/>
                  </a:cubicBezTo>
                  <a:cubicBezTo>
                    <a:pt x="76" y="16"/>
                    <a:pt x="71" y="19"/>
                    <a:pt x="65" y="26"/>
                  </a:cubicBezTo>
                  <a:lnTo>
                    <a:pt x="65" y="80"/>
                  </a:lnTo>
                  <a:lnTo>
                    <a:pt x="47" y="80"/>
                  </a:lnTo>
                  <a:lnTo>
                    <a:pt x="47" y="34"/>
                  </a:lnTo>
                  <a:cubicBezTo>
                    <a:pt x="47" y="27"/>
                    <a:pt x="46" y="23"/>
                    <a:pt x="44" y="20"/>
                  </a:cubicBezTo>
                  <a:cubicBezTo>
                    <a:pt x="42" y="17"/>
                    <a:pt x="39" y="16"/>
                    <a:pt x="35" y="16"/>
                  </a:cubicBezTo>
                  <a:cubicBezTo>
                    <a:pt x="30" y="16"/>
                    <a:pt x="24" y="19"/>
                    <a:pt x="18" y="26"/>
                  </a:cubicBezTo>
                  <a:lnTo>
                    <a:pt x="18" y="80"/>
                  </a:lnTo>
                  <a:lnTo>
                    <a:pt x="0" y="80"/>
                  </a:lnTo>
                  <a:lnTo>
                    <a:pt x="0" y="2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68">
              <a:extLst>
                <a:ext uri="{FF2B5EF4-FFF2-40B4-BE49-F238E27FC236}">
                  <a16:creationId xmlns:a16="http://schemas.microsoft.com/office/drawing/2014/main" id="{527857E0-FE43-40BB-8438-8F133150CB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9789" y="2214429"/>
              <a:ext cx="60450" cy="82721"/>
            </a:xfrm>
            <a:custGeom>
              <a:avLst/>
              <a:gdLst>
                <a:gd name="T0" fmla="*/ 33 w 75"/>
                <a:gd name="T1" fmla="*/ 90 h 104"/>
                <a:gd name="T2" fmla="*/ 51 w 75"/>
                <a:gd name="T3" fmla="*/ 86 h 104"/>
                <a:gd name="T4" fmla="*/ 57 w 75"/>
                <a:gd name="T5" fmla="*/ 72 h 104"/>
                <a:gd name="T6" fmla="*/ 51 w 75"/>
                <a:gd name="T7" fmla="*/ 60 h 104"/>
                <a:gd name="T8" fmla="*/ 33 w 75"/>
                <a:gd name="T9" fmla="*/ 57 h 104"/>
                <a:gd name="T10" fmla="*/ 18 w 75"/>
                <a:gd name="T11" fmla="*/ 57 h 104"/>
                <a:gd name="T12" fmla="*/ 18 w 75"/>
                <a:gd name="T13" fmla="*/ 90 h 104"/>
                <a:gd name="T14" fmla="*/ 33 w 75"/>
                <a:gd name="T15" fmla="*/ 90 h 104"/>
                <a:gd name="T16" fmla="*/ 31 w 75"/>
                <a:gd name="T17" fmla="*/ 43 h 104"/>
                <a:gd name="T18" fmla="*/ 47 w 75"/>
                <a:gd name="T19" fmla="*/ 39 h 104"/>
                <a:gd name="T20" fmla="*/ 52 w 75"/>
                <a:gd name="T21" fmla="*/ 28 h 104"/>
                <a:gd name="T22" fmla="*/ 47 w 75"/>
                <a:gd name="T23" fmla="*/ 18 h 104"/>
                <a:gd name="T24" fmla="*/ 31 w 75"/>
                <a:gd name="T25" fmla="*/ 15 h 104"/>
                <a:gd name="T26" fmla="*/ 18 w 75"/>
                <a:gd name="T27" fmla="*/ 15 h 104"/>
                <a:gd name="T28" fmla="*/ 18 w 75"/>
                <a:gd name="T29" fmla="*/ 43 h 104"/>
                <a:gd name="T30" fmla="*/ 31 w 75"/>
                <a:gd name="T31" fmla="*/ 43 h 104"/>
                <a:gd name="T32" fmla="*/ 0 w 75"/>
                <a:gd name="T33" fmla="*/ 0 h 104"/>
                <a:gd name="T34" fmla="*/ 33 w 75"/>
                <a:gd name="T35" fmla="*/ 0 h 104"/>
                <a:gd name="T36" fmla="*/ 47 w 75"/>
                <a:gd name="T37" fmla="*/ 2 h 104"/>
                <a:gd name="T38" fmla="*/ 59 w 75"/>
                <a:gd name="T39" fmla="*/ 6 h 104"/>
                <a:gd name="T40" fmla="*/ 67 w 75"/>
                <a:gd name="T41" fmla="*/ 14 h 104"/>
                <a:gd name="T42" fmla="*/ 70 w 75"/>
                <a:gd name="T43" fmla="*/ 26 h 104"/>
                <a:gd name="T44" fmla="*/ 65 w 75"/>
                <a:gd name="T45" fmla="*/ 40 h 104"/>
                <a:gd name="T46" fmla="*/ 52 w 75"/>
                <a:gd name="T47" fmla="*/ 48 h 104"/>
                <a:gd name="T48" fmla="*/ 52 w 75"/>
                <a:gd name="T49" fmla="*/ 49 h 104"/>
                <a:gd name="T50" fmla="*/ 69 w 75"/>
                <a:gd name="T51" fmla="*/ 57 h 104"/>
                <a:gd name="T52" fmla="*/ 75 w 75"/>
                <a:gd name="T53" fmla="*/ 74 h 104"/>
                <a:gd name="T54" fmla="*/ 72 w 75"/>
                <a:gd name="T55" fmla="*/ 87 h 104"/>
                <a:gd name="T56" fmla="*/ 64 w 75"/>
                <a:gd name="T57" fmla="*/ 97 h 104"/>
                <a:gd name="T58" fmla="*/ 51 w 75"/>
                <a:gd name="T59" fmla="*/ 102 h 104"/>
                <a:gd name="T60" fmla="*/ 35 w 75"/>
                <a:gd name="T61" fmla="*/ 104 h 104"/>
                <a:gd name="T62" fmla="*/ 0 w 75"/>
                <a:gd name="T63" fmla="*/ 104 h 104"/>
                <a:gd name="T64" fmla="*/ 0 w 75"/>
                <a:gd name="T6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5" h="104">
                  <a:moveTo>
                    <a:pt x="33" y="90"/>
                  </a:moveTo>
                  <a:cubicBezTo>
                    <a:pt x="41" y="90"/>
                    <a:pt x="47" y="88"/>
                    <a:pt x="51" y="86"/>
                  </a:cubicBezTo>
                  <a:cubicBezTo>
                    <a:pt x="55" y="83"/>
                    <a:pt x="57" y="78"/>
                    <a:pt x="57" y="72"/>
                  </a:cubicBezTo>
                  <a:cubicBezTo>
                    <a:pt x="57" y="67"/>
                    <a:pt x="55" y="63"/>
                    <a:pt x="51" y="60"/>
                  </a:cubicBezTo>
                  <a:cubicBezTo>
                    <a:pt x="47" y="58"/>
                    <a:pt x="41" y="57"/>
                    <a:pt x="33" y="57"/>
                  </a:cubicBezTo>
                  <a:lnTo>
                    <a:pt x="18" y="57"/>
                  </a:lnTo>
                  <a:lnTo>
                    <a:pt x="18" y="90"/>
                  </a:lnTo>
                  <a:lnTo>
                    <a:pt x="33" y="90"/>
                  </a:lnTo>
                  <a:close/>
                  <a:moveTo>
                    <a:pt x="31" y="43"/>
                  </a:moveTo>
                  <a:cubicBezTo>
                    <a:pt x="38" y="43"/>
                    <a:pt x="44" y="42"/>
                    <a:pt x="47" y="39"/>
                  </a:cubicBezTo>
                  <a:cubicBezTo>
                    <a:pt x="50" y="37"/>
                    <a:pt x="52" y="33"/>
                    <a:pt x="52" y="28"/>
                  </a:cubicBezTo>
                  <a:cubicBezTo>
                    <a:pt x="52" y="23"/>
                    <a:pt x="50" y="20"/>
                    <a:pt x="47" y="18"/>
                  </a:cubicBezTo>
                  <a:cubicBezTo>
                    <a:pt x="43" y="16"/>
                    <a:pt x="38" y="15"/>
                    <a:pt x="31" y="15"/>
                  </a:cubicBezTo>
                  <a:lnTo>
                    <a:pt x="18" y="15"/>
                  </a:lnTo>
                  <a:lnTo>
                    <a:pt x="18" y="43"/>
                  </a:lnTo>
                  <a:lnTo>
                    <a:pt x="31" y="43"/>
                  </a:lnTo>
                  <a:close/>
                  <a:moveTo>
                    <a:pt x="0" y="0"/>
                  </a:moveTo>
                  <a:lnTo>
                    <a:pt x="33" y="0"/>
                  </a:lnTo>
                  <a:cubicBezTo>
                    <a:pt x="38" y="0"/>
                    <a:pt x="43" y="1"/>
                    <a:pt x="47" y="2"/>
                  </a:cubicBezTo>
                  <a:cubicBezTo>
                    <a:pt x="52" y="3"/>
                    <a:pt x="56" y="4"/>
                    <a:pt x="59" y="6"/>
                  </a:cubicBezTo>
                  <a:cubicBezTo>
                    <a:pt x="63" y="8"/>
                    <a:pt x="65" y="11"/>
                    <a:pt x="67" y="14"/>
                  </a:cubicBezTo>
                  <a:cubicBezTo>
                    <a:pt x="69" y="17"/>
                    <a:pt x="70" y="21"/>
                    <a:pt x="70" y="26"/>
                  </a:cubicBezTo>
                  <a:cubicBezTo>
                    <a:pt x="70" y="31"/>
                    <a:pt x="68" y="36"/>
                    <a:pt x="65" y="40"/>
                  </a:cubicBezTo>
                  <a:cubicBezTo>
                    <a:pt x="62" y="44"/>
                    <a:pt x="58" y="47"/>
                    <a:pt x="52" y="48"/>
                  </a:cubicBezTo>
                  <a:lnTo>
                    <a:pt x="52" y="49"/>
                  </a:lnTo>
                  <a:cubicBezTo>
                    <a:pt x="59" y="50"/>
                    <a:pt x="65" y="53"/>
                    <a:pt x="69" y="57"/>
                  </a:cubicBezTo>
                  <a:cubicBezTo>
                    <a:pt x="73" y="61"/>
                    <a:pt x="75" y="67"/>
                    <a:pt x="75" y="74"/>
                  </a:cubicBezTo>
                  <a:cubicBezTo>
                    <a:pt x="75" y="79"/>
                    <a:pt x="74" y="83"/>
                    <a:pt x="72" y="87"/>
                  </a:cubicBezTo>
                  <a:cubicBezTo>
                    <a:pt x="70" y="91"/>
                    <a:pt x="67" y="94"/>
                    <a:pt x="64" y="97"/>
                  </a:cubicBezTo>
                  <a:cubicBezTo>
                    <a:pt x="60" y="99"/>
                    <a:pt x="56" y="101"/>
                    <a:pt x="51" y="102"/>
                  </a:cubicBezTo>
                  <a:cubicBezTo>
                    <a:pt x="46" y="103"/>
                    <a:pt x="41" y="104"/>
                    <a:pt x="35" y="104"/>
                  </a:cubicBezTo>
                  <a:lnTo>
                    <a:pt x="0" y="104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69">
              <a:extLst>
                <a:ext uri="{FF2B5EF4-FFF2-40B4-BE49-F238E27FC236}">
                  <a16:creationId xmlns:a16="http://schemas.microsoft.com/office/drawing/2014/main" id="{4A71E204-31D1-4354-9F72-3A82DAC413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34556" y="2214429"/>
              <a:ext cx="62041" cy="82721"/>
            </a:xfrm>
            <a:custGeom>
              <a:avLst/>
              <a:gdLst>
                <a:gd name="T0" fmla="*/ 27 w 78"/>
                <a:gd name="T1" fmla="*/ 89 h 104"/>
                <a:gd name="T2" fmla="*/ 51 w 78"/>
                <a:gd name="T3" fmla="*/ 80 h 104"/>
                <a:gd name="T4" fmla="*/ 59 w 78"/>
                <a:gd name="T5" fmla="*/ 52 h 104"/>
                <a:gd name="T6" fmla="*/ 51 w 78"/>
                <a:gd name="T7" fmla="*/ 24 h 104"/>
                <a:gd name="T8" fmla="*/ 27 w 78"/>
                <a:gd name="T9" fmla="*/ 15 h 104"/>
                <a:gd name="T10" fmla="*/ 18 w 78"/>
                <a:gd name="T11" fmla="*/ 15 h 104"/>
                <a:gd name="T12" fmla="*/ 18 w 78"/>
                <a:gd name="T13" fmla="*/ 89 h 104"/>
                <a:gd name="T14" fmla="*/ 27 w 78"/>
                <a:gd name="T15" fmla="*/ 89 h 104"/>
                <a:gd name="T16" fmla="*/ 0 w 78"/>
                <a:gd name="T17" fmla="*/ 0 h 104"/>
                <a:gd name="T18" fmla="*/ 28 w 78"/>
                <a:gd name="T19" fmla="*/ 0 h 104"/>
                <a:gd name="T20" fmla="*/ 65 w 78"/>
                <a:gd name="T21" fmla="*/ 13 h 104"/>
                <a:gd name="T22" fmla="*/ 78 w 78"/>
                <a:gd name="T23" fmla="*/ 52 h 104"/>
                <a:gd name="T24" fmla="*/ 75 w 78"/>
                <a:gd name="T25" fmla="*/ 74 h 104"/>
                <a:gd name="T26" fmla="*/ 65 w 78"/>
                <a:gd name="T27" fmla="*/ 91 h 104"/>
                <a:gd name="T28" fmla="*/ 49 w 78"/>
                <a:gd name="T29" fmla="*/ 101 h 104"/>
                <a:gd name="T30" fmla="*/ 29 w 78"/>
                <a:gd name="T31" fmla="*/ 104 h 104"/>
                <a:gd name="T32" fmla="*/ 0 w 78"/>
                <a:gd name="T33" fmla="*/ 104 h 104"/>
                <a:gd name="T34" fmla="*/ 0 w 78"/>
                <a:gd name="T35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4">
                  <a:moveTo>
                    <a:pt x="27" y="89"/>
                  </a:moveTo>
                  <a:cubicBezTo>
                    <a:pt x="37" y="89"/>
                    <a:pt x="45" y="86"/>
                    <a:pt x="51" y="80"/>
                  </a:cubicBezTo>
                  <a:cubicBezTo>
                    <a:pt x="57" y="74"/>
                    <a:pt x="59" y="65"/>
                    <a:pt x="59" y="52"/>
                  </a:cubicBezTo>
                  <a:cubicBezTo>
                    <a:pt x="59" y="39"/>
                    <a:pt x="56" y="30"/>
                    <a:pt x="51" y="24"/>
                  </a:cubicBezTo>
                  <a:cubicBezTo>
                    <a:pt x="45" y="18"/>
                    <a:pt x="37" y="15"/>
                    <a:pt x="27" y="15"/>
                  </a:cubicBezTo>
                  <a:lnTo>
                    <a:pt x="18" y="15"/>
                  </a:lnTo>
                  <a:lnTo>
                    <a:pt x="18" y="89"/>
                  </a:lnTo>
                  <a:lnTo>
                    <a:pt x="27" y="89"/>
                  </a:lnTo>
                  <a:close/>
                  <a:moveTo>
                    <a:pt x="0" y="0"/>
                  </a:moveTo>
                  <a:lnTo>
                    <a:pt x="28" y="0"/>
                  </a:lnTo>
                  <a:cubicBezTo>
                    <a:pt x="44" y="0"/>
                    <a:pt x="56" y="5"/>
                    <a:pt x="65" y="13"/>
                  </a:cubicBezTo>
                  <a:cubicBezTo>
                    <a:pt x="74" y="22"/>
                    <a:pt x="78" y="35"/>
                    <a:pt x="78" y="52"/>
                  </a:cubicBezTo>
                  <a:cubicBezTo>
                    <a:pt x="78" y="60"/>
                    <a:pt x="77" y="68"/>
                    <a:pt x="75" y="74"/>
                  </a:cubicBezTo>
                  <a:cubicBezTo>
                    <a:pt x="73" y="81"/>
                    <a:pt x="69" y="86"/>
                    <a:pt x="65" y="91"/>
                  </a:cubicBezTo>
                  <a:cubicBezTo>
                    <a:pt x="61" y="95"/>
                    <a:pt x="56" y="98"/>
                    <a:pt x="49" y="101"/>
                  </a:cubicBezTo>
                  <a:cubicBezTo>
                    <a:pt x="43" y="103"/>
                    <a:pt x="36" y="104"/>
                    <a:pt x="29" y="104"/>
                  </a:cubicBezTo>
                  <a:lnTo>
                    <a:pt x="0" y="1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70">
              <a:extLst>
                <a:ext uri="{FF2B5EF4-FFF2-40B4-BE49-F238E27FC236}">
                  <a16:creationId xmlns:a16="http://schemas.microsoft.com/office/drawing/2014/main" id="{B414BB50-F0DD-443E-BF1F-C341016569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4095" y="2214429"/>
              <a:ext cx="50905" cy="82721"/>
            </a:xfrm>
            <a:custGeom>
              <a:avLst/>
              <a:gdLst>
                <a:gd name="T0" fmla="*/ 0 w 32"/>
                <a:gd name="T1" fmla="*/ 0 h 52"/>
                <a:gd name="T2" fmla="*/ 31 w 32"/>
                <a:gd name="T3" fmla="*/ 0 h 52"/>
                <a:gd name="T4" fmla="*/ 31 w 32"/>
                <a:gd name="T5" fmla="*/ 8 h 52"/>
                <a:gd name="T6" fmla="*/ 9 w 32"/>
                <a:gd name="T7" fmla="*/ 8 h 52"/>
                <a:gd name="T8" fmla="*/ 9 w 32"/>
                <a:gd name="T9" fmla="*/ 21 h 52"/>
                <a:gd name="T10" fmla="*/ 28 w 32"/>
                <a:gd name="T11" fmla="*/ 21 h 52"/>
                <a:gd name="T12" fmla="*/ 28 w 32"/>
                <a:gd name="T13" fmla="*/ 29 h 52"/>
                <a:gd name="T14" fmla="*/ 9 w 32"/>
                <a:gd name="T15" fmla="*/ 29 h 52"/>
                <a:gd name="T16" fmla="*/ 9 w 32"/>
                <a:gd name="T17" fmla="*/ 45 h 52"/>
                <a:gd name="T18" fmla="*/ 32 w 32"/>
                <a:gd name="T19" fmla="*/ 45 h 52"/>
                <a:gd name="T20" fmla="*/ 32 w 32"/>
                <a:gd name="T21" fmla="*/ 52 h 52"/>
                <a:gd name="T22" fmla="*/ 0 w 32"/>
                <a:gd name="T23" fmla="*/ 52 h 52"/>
                <a:gd name="T24" fmla="*/ 0 w 32"/>
                <a:gd name="T2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52">
                  <a:moveTo>
                    <a:pt x="0" y="0"/>
                  </a:moveTo>
                  <a:lnTo>
                    <a:pt x="31" y="0"/>
                  </a:lnTo>
                  <a:lnTo>
                    <a:pt x="31" y="8"/>
                  </a:lnTo>
                  <a:lnTo>
                    <a:pt x="9" y="8"/>
                  </a:lnTo>
                  <a:lnTo>
                    <a:pt x="9" y="21"/>
                  </a:lnTo>
                  <a:lnTo>
                    <a:pt x="28" y="21"/>
                  </a:lnTo>
                  <a:lnTo>
                    <a:pt x="28" y="29"/>
                  </a:lnTo>
                  <a:lnTo>
                    <a:pt x="9" y="29"/>
                  </a:lnTo>
                  <a:lnTo>
                    <a:pt x="9" y="45"/>
                  </a:lnTo>
                  <a:lnTo>
                    <a:pt x="32" y="45"/>
                  </a:lnTo>
                  <a:lnTo>
                    <a:pt x="32" y="52"/>
                  </a:lnTo>
                  <a:lnTo>
                    <a:pt x="0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71">
              <a:extLst>
                <a:ext uri="{FF2B5EF4-FFF2-40B4-BE49-F238E27FC236}">
                  <a16:creationId xmlns:a16="http://schemas.microsoft.com/office/drawing/2014/main" id="{0E6E7181-AE06-4F7B-8103-5A7A81880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2955" y="2214429"/>
              <a:ext cx="97038" cy="82721"/>
            </a:xfrm>
            <a:custGeom>
              <a:avLst/>
              <a:gdLst>
                <a:gd name="T0" fmla="*/ 0 w 121"/>
                <a:gd name="T1" fmla="*/ 0 h 104"/>
                <a:gd name="T2" fmla="*/ 19 w 121"/>
                <a:gd name="T3" fmla="*/ 0 h 104"/>
                <a:gd name="T4" fmla="*/ 28 w 121"/>
                <a:gd name="T5" fmla="*/ 53 h 104"/>
                <a:gd name="T6" fmla="*/ 30 w 121"/>
                <a:gd name="T7" fmla="*/ 69 h 104"/>
                <a:gd name="T8" fmla="*/ 33 w 121"/>
                <a:gd name="T9" fmla="*/ 86 h 104"/>
                <a:gd name="T10" fmla="*/ 34 w 121"/>
                <a:gd name="T11" fmla="*/ 86 h 104"/>
                <a:gd name="T12" fmla="*/ 37 w 121"/>
                <a:gd name="T13" fmla="*/ 69 h 104"/>
                <a:gd name="T14" fmla="*/ 40 w 121"/>
                <a:gd name="T15" fmla="*/ 53 h 104"/>
                <a:gd name="T16" fmla="*/ 53 w 121"/>
                <a:gd name="T17" fmla="*/ 0 h 104"/>
                <a:gd name="T18" fmla="*/ 69 w 121"/>
                <a:gd name="T19" fmla="*/ 0 h 104"/>
                <a:gd name="T20" fmla="*/ 82 w 121"/>
                <a:gd name="T21" fmla="*/ 53 h 104"/>
                <a:gd name="T22" fmla="*/ 85 w 121"/>
                <a:gd name="T23" fmla="*/ 69 h 104"/>
                <a:gd name="T24" fmla="*/ 89 w 121"/>
                <a:gd name="T25" fmla="*/ 86 h 104"/>
                <a:gd name="T26" fmla="*/ 89 w 121"/>
                <a:gd name="T27" fmla="*/ 86 h 104"/>
                <a:gd name="T28" fmla="*/ 92 w 121"/>
                <a:gd name="T29" fmla="*/ 69 h 104"/>
                <a:gd name="T30" fmla="*/ 94 w 121"/>
                <a:gd name="T31" fmla="*/ 53 h 104"/>
                <a:gd name="T32" fmla="*/ 103 w 121"/>
                <a:gd name="T33" fmla="*/ 0 h 104"/>
                <a:gd name="T34" fmla="*/ 121 w 121"/>
                <a:gd name="T35" fmla="*/ 0 h 104"/>
                <a:gd name="T36" fmla="*/ 101 w 121"/>
                <a:gd name="T37" fmla="*/ 104 h 104"/>
                <a:gd name="T38" fmla="*/ 78 w 121"/>
                <a:gd name="T39" fmla="*/ 104 h 104"/>
                <a:gd name="T40" fmla="*/ 65 w 121"/>
                <a:gd name="T41" fmla="*/ 50 h 104"/>
                <a:gd name="T42" fmla="*/ 63 w 121"/>
                <a:gd name="T43" fmla="*/ 38 h 104"/>
                <a:gd name="T44" fmla="*/ 61 w 121"/>
                <a:gd name="T45" fmla="*/ 26 h 104"/>
                <a:gd name="T46" fmla="*/ 60 w 121"/>
                <a:gd name="T47" fmla="*/ 26 h 104"/>
                <a:gd name="T48" fmla="*/ 58 w 121"/>
                <a:gd name="T49" fmla="*/ 38 h 104"/>
                <a:gd name="T50" fmla="*/ 55 w 121"/>
                <a:gd name="T51" fmla="*/ 50 h 104"/>
                <a:gd name="T52" fmla="*/ 43 w 121"/>
                <a:gd name="T53" fmla="*/ 104 h 104"/>
                <a:gd name="T54" fmla="*/ 21 w 121"/>
                <a:gd name="T55" fmla="*/ 104 h 104"/>
                <a:gd name="T56" fmla="*/ 0 w 121"/>
                <a:gd name="T57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1" h="104">
                  <a:moveTo>
                    <a:pt x="0" y="0"/>
                  </a:moveTo>
                  <a:lnTo>
                    <a:pt x="19" y="0"/>
                  </a:lnTo>
                  <a:lnTo>
                    <a:pt x="28" y="53"/>
                  </a:lnTo>
                  <a:cubicBezTo>
                    <a:pt x="29" y="58"/>
                    <a:pt x="30" y="64"/>
                    <a:pt x="30" y="69"/>
                  </a:cubicBezTo>
                  <a:cubicBezTo>
                    <a:pt x="31" y="75"/>
                    <a:pt x="32" y="80"/>
                    <a:pt x="33" y="86"/>
                  </a:cubicBezTo>
                  <a:lnTo>
                    <a:pt x="34" y="86"/>
                  </a:lnTo>
                  <a:cubicBezTo>
                    <a:pt x="35" y="80"/>
                    <a:pt x="36" y="75"/>
                    <a:pt x="37" y="69"/>
                  </a:cubicBezTo>
                  <a:cubicBezTo>
                    <a:pt x="38" y="64"/>
                    <a:pt x="39" y="58"/>
                    <a:pt x="40" y="53"/>
                  </a:cubicBezTo>
                  <a:lnTo>
                    <a:pt x="53" y="0"/>
                  </a:lnTo>
                  <a:lnTo>
                    <a:pt x="69" y="0"/>
                  </a:lnTo>
                  <a:lnTo>
                    <a:pt x="82" y="53"/>
                  </a:lnTo>
                  <a:cubicBezTo>
                    <a:pt x="83" y="58"/>
                    <a:pt x="84" y="64"/>
                    <a:pt x="85" y="69"/>
                  </a:cubicBezTo>
                  <a:cubicBezTo>
                    <a:pt x="86" y="75"/>
                    <a:pt x="87" y="80"/>
                    <a:pt x="89" y="86"/>
                  </a:cubicBezTo>
                  <a:lnTo>
                    <a:pt x="89" y="86"/>
                  </a:lnTo>
                  <a:cubicBezTo>
                    <a:pt x="90" y="80"/>
                    <a:pt x="91" y="75"/>
                    <a:pt x="92" y="69"/>
                  </a:cubicBezTo>
                  <a:cubicBezTo>
                    <a:pt x="93" y="64"/>
                    <a:pt x="93" y="58"/>
                    <a:pt x="94" y="53"/>
                  </a:cubicBezTo>
                  <a:lnTo>
                    <a:pt x="103" y="0"/>
                  </a:lnTo>
                  <a:lnTo>
                    <a:pt x="121" y="0"/>
                  </a:lnTo>
                  <a:lnTo>
                    <a:pt x="101" y="104"/>
                  </a:lnTo>
                  <a:lnTo>
                    <a:pt x="78" y="104"/>
                  </a:lnTo>
                  <a:lnTo>
                    <a:pt x="65" y="50"/>
                  </a:lnTo>
                  <a:cubicBezTo>
                    <a:pt x="65" y="46"/>
                    <a:pt x="64" y="42"/>
                    <a:pt x="63" y="38"/>
                  </a:cubicBezTo>
                  <a:cubicBezTo>
                    <a:pt x="62" y="34"/>
                    <a:pt x="61" y="30"/>
                    <a:pt x="61" y="26"/>
                  </a:cubicBezTo>
                  <a:lnTo>
                    <a:pt x="60" y="26"/>
                  </a:lnTo>
                  <a:cubicBezTo>
                    <a:pt x="59" y="30"/>
                    <a:pt x="59" y="34"/>
                    <a:pt x="58" y="38"/>
                  </a:cubicBezTo>
                  <a:cubicBezTo>
                    <a:pt x="57" y="42"/>
                    <a:pt x="56" y="46"/>
                    <a:pt x="55" y="50"/>
                  </a:cubicBezTo>
                  <a:lnTo>
                    <a:pt x="43" y="104"/>
                  </a:lnTo>
                  <a:lnTo>
                    <a:pt x="21" y="104"/>
                  </a:lnTo>
                  <a:lnTo>
                    <a:pt x="0" y="0"/>
                  </a:ln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32" name="Rechteck 31">
            <a:extLst>
              <a:ext uri="{FF2B5EF4-FFF2-40B4-BE49-F238E27FC236}">
                <a16:creationId xmlns:a16="http://schemas.microsoft.com/office/drawing/2014/main" id="{38369197-8556-4D7C-96DC-0CFA6789852B}"/>
              </a:ext>
            </a:extLst>
          </p:cNvPr>
          <p:cNvSpPr/>
          <p:nvPr/>
        </p:nvSpPr>
        <p:spPr>
          <a:xfrm>
            <a:off x="143223" y="144115"/>
            <a:ext cx="8928000" cy="4896000"/>
          </a:xfrm>
          <a:prstGeom prst="rect">
            <a:avLst/>
          </a:prstGeom>
          <a:noFill/>
          <a:ln>
            <a:solidFill>
              <a:srgbClr val="C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360"/>
          </a:p>
        </p:txBody>
      </p:sp>
    </p:spTree>
    <p:extLst>
      <p:ext uri="{BB962C8B-B14F-4D97-AF65-F5344CB8AC3E}">
        <p14:creationId xmlns:p14="http://schemas.microsoft.com/office/powerpoint/2010/main" val="36411478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21F07DF-5638-4707-A3B6-0414065AFC7C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431800" y="865188"/>
            <a:ext cx="8351838" cy="41036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201F4830-02D5-4CDC-BE53-87EEC2FAEE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3B78F-86EA-43EF-9733-4B7990CE0DD9}" type="datetime1">
              <a:rPr lang="de-DE" smtClean="0"/>
              <a:t>24.11.2022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7AE9D3F6-60F6-40E1-936D-6A1E8C1BE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3A1ACD44-38B1-42A9-BB2E-4E41A9ABE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2193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5F6CD-5B21-422C-A388-D3982546B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140728-C76C-4A8A-A0DB-32D3A80CC54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1453" y="1800001"/>
            <a:ext cx="4032250" cy="31686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A515521-CF36-43DF-8006-6F4895FFA8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51735" y="1800001"/>
            <a:ext cx="4032250" cy="31686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F39A0076-9856-4316-A2C2-9B5A543A19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9880F-6D67-4E47-B29E-DA866A12BAA4}" type="datetime1">
              <a:rPr lang="de-DE" smtClean="0"/>
              <a:t>24.11.2022</a:t>
            </a:fld>
            <a:endParaRPr lang="en-US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013024DD-12C5-4418-B89A-1BE4467EB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093751A8-9A06-48BF-8633-A9D401CCC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811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0F7DB9-3C09-4E53-BACB-FC9500A68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864267"/>
            <a:ext cx="8352383" cy="648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03CE9B-65AD-4D10-96C7-6574CAEA66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703" y="1800371"/>
            <a:ext cx="4032000" cy="5760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E6730B2-7655-4C77-BB72-DD89EBE4ED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1453" y="2592651"/>
            <a:ext cx="4032250" cy="23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7B141BF-BA70-4D25-B586-D6D1A6F95F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752280" y="1800299"/>
            <a:ext cx="4031903" cy="57600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C3F4711-8A5E-47D8-B67C-49AFEA3118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752183" y="2592651"/>
            <a:ext cx="4032000" cy="23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E31B3D2-63E6-474A-95D3-E636EBC606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EC492-1538-47B0-AFA6-6326180DD226}" type="datetime1">
              <a:rPr lang="de-DE" smtClean="0"/>
              <a:t>24.11.2022</a:t>
            </a:fld>
            <a:endParaRPr lang="en-US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33958CA7-E040-4C1D-9C07-B71F4C8460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7767F37B-BEB7-49B4-B2E9-4707BFD5EF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4472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F51FDF-E61C-476D-937C-CD8F78E6C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5" y="862979"/>
            <a:ext cx="4027370" cy="649288"/>
          </a:xfrm>
        </p:spPr>
        <p:txBody>
          <a:bodyPr wrap="square" anchor="t" anchorCtr="0"/>
          <a:lstStyle>
            <a:lvl1pPr>
              <a:defRPr sz="26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408F3D8-E34D-4471-AAA3-9FE9BBCF3BD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751735" y="863376"/>
            <a:ext cx="4032000" cy="4105275"/>
          </a:xfrm>
        </p:spPr>
        <p:txBody>
          <a:bodyPr lIns="0" tIns="0"/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D57C96F-418C-464D-8080-6AC22CEE4CA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31255" y="1798127"/>
            <a:ext cx="4036881" cy="3170524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478EB4EE-BA92-4E68-B7EA-93AAEF37AE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02C7D-0BA1-49D2-A711-DD7C24F63705}" type="datetime1">
              <a:rPr lang="de-DE" smtClean="0"/>
              <a:t>24.11.2022</a:t>
            </a:fld>
            <a:endParaRPr lang="en-US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85208F1D-8CA3-4776-A3B9-981FEFEA7F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7116FE7-B59D-4068-AE44-7C623B5E2D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98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714294F-37E1-4995-BB5C-4BBEDB79C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737D52E-DCF5-49A0-8957-B959078213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255" y="1800972"/>
            <a:ext cx="8352382" cy="31676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070E68EB-2EBA-4AA0-905D-6DC44201C061}"/>
              </a:ext>
            </a:extLst>
          </p:cNvPr>
          <p:cNvCxnSpPr/>
          <p:nvPr/>
        </p:nvCxnSpPr>
        <p:spPr>
          <a:xfrm>
            <a:off x="0" y="576163"/>
            <a:ext cx="9215438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Datumsplatzhalter 30">
            <a:extLst>
              <a:ext uri="{FF2B5EF4-FFF2-40B4-BE49-F238E27FC236}">
                <a16:creationId xmlns:a16="http://schemas.microsoft.com/office/drawing/2014/main" id="{C6A1126F-F439-448C-B4C0-8937B56FCA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31255" y="288131"/>
            <a:ext cx="50400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800">
                <a:solidFill>
                  <a:schemeClr val="accent3"/>
                </a:solidFill>
                <a:latin typeface="+mn-lt"/>
              </a:defRPr>
            </a:lvl1pPr>
          </a:lstStyle>
          <a:p>
            <a:fld id="{4BB799E5-713E-449B-B03B-50C67574840B}" type="datetime1">
              <a:rPr lang="de-DE" smtClean="0"/>
              <a:t>24.11.2022</a:t>
            </a:fld>
            <a:endParaRPr lang="en-US"/>
          </a:p>
        </p:txBody>
      </p:sp>
      <p:sp>
        <p:nvSpPr>
          <p:cNvPr id="32" name="Fußzeilenplatzhalter 31">
            <a:extLst>
              <a:ext uri="{FF2B5EF4-FFF2-40B4-BE49-F238E27FC236}">
                <a16:creationId xmlns:a16="http://schemas.microsoft.com/office/drawing/2014/main" id="{AF6C9F38-D91A-4AB3-8213-3BA0A947F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39951" y="288131"/>
            <a:ext cx="5256000" cy="144000"/>
          </a:xfrm>
          <a:prstGeom prst="rect">
            <a:avLst/>
          </a:prstGeom>
        </p:spPr>
        <p:txBody>
          <a:bodyPr vert="horz" wrap="none" lIns="72000" tIns="0" rIns="0" bIns="0" rtlCol="0" anchor="ctr"/>
          <a:lstStyle>
            <a:lvl1pPr algn="l">
              <a:defRPr sz="80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de-DE"/>
              <a:t>wasserportal.info: Infoservice für Wasserversorger und ihre Kunden</a:t>
            </a:r>
            <a:endParaRPr lang="en-US"/>
          </a:p>
        </p:txBody>
      </p:sp>
      <p:sp>
        <p:nvSpPr>
          <p:cNvPr id="33" name="Foliennummernplatzhalter 32">
            <a:extLst>
              <a:ext uri="{FF2B5EF4-FFF2-40B4-BE49-F238E27FC236}">
                <a16:creationId xmlns:a16="http://schemas.microsoft.com/office/drawing/2014/main" id="{2B2E0B9A-E114-4A8C-8624-65A0710948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23367" y="288147"/>
            <a:ext cx="216000" cy="144000"/>
          </a:xfrm>
          <a:prstGeom prst="rect">
            <a:avLst/>
          </a:prstGeom>
        </p:spPr>
        <p:txBody>
          <a:bodyPr vert="horz" wrap="none" lIns="36000" tIns="0" rIns="0" bIns="0" rtlCol="0" anchor="ctr"/>
          <a:lstStyle>
            <a:lvl1pPr algn="l">
              <a:defRPr sz="800">
                <a:solidFill>
                  <a:schemeClr val="accent3"/>
                </a:solidFill>
                <a:latin typeface="+mn-lt"/>
              </a:defRPr>
            </a:lvl1pPr>
          </a:lstStyle>
          <a:p>
            <a:fld id="{507858CC-EE43-4847-B998-6C652D6E5198}" type="slidenum">
              <a:rPr lang="en-US" smtClean="0"/>
              <a:t>‹Nr.›</a:t>
            </a:fld>
            <a:endParaRPr lang="en-US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5DF2EB5-E68F-4A5F-8B05-DCA7BFDCE920}"/>
              </a:ext>
            </a:extLst>
          </p:cNvPr>
          <p:cNvSpPr txBox="1"/>
          <p:nvPr/>
        </p:nvSpPr>
        <p:spPr>
          <a:xfrm>
            <a:off x="1022968" y="288130"/>
            <a:ext cx="200375" cy="144000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marL="0" indent="0" algn="r">
              <a:spcAft>
                <a:spcPts val="1000"/>
              </a:spcAft>
              <a:buClr>
                <a:schemeClr val="accent1"/>
              </a:buClr>
              <a:buFont typeface="Calibri" panose="020F0502020204030204" pitchFamily="34" charset="0"/>
              <a:buNone/>
            </a:pPr>
            <a:r>
              <a:rPr lang="de-DE" sz="800" dirty="0">
                <a:solidFill>
                  <a:schemeClr val="accent3"/>
                </a:solidFill>
              </a:rPr>
              <a:t>Folie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936E3BF9-2700-4D32-932B-22DF86AD9C95}"/>
              </a:ext>
            </a:extLst>
          </p:cNvPr>
          <p:cNvGrpSpPr/>
          <p:nvPr/>
        </p:nvGrpSpPr>
        <p:grpSpPr>
          <a:xfrm>
            <a:off x="6996113" y="288000"/>
            <a:ext cx="685353" cy="148421"/>
            <a:chOff x="6996113" y="264299"/>
            <a:chExt cx="685353" cy="148421"/>
          </a:xfrm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FE79BFE9-28C2-47EF-ADFB-7A1E098474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0446" y="357426"/>
              <a:ext cx="291020" cy="55294"/>
            </a:xfrm>
            <a:custGeom>
              <a:avLst/>
              <a:gdLst>
                <a:gd name="T0" fmla="*/ 13 w 417"/>
                <a:gd name="T1" fmla="*/ 2 h 78"/>
                <a:gd name="T2" fmla="*/ 0 w 417"/>
                <a:gd name="T3" fmla="*/ 7 h 78"/>
                <a:gd name="T4" fmla="*/ 13 w 417"/>
                <a:gd name="T5" fmla="*/ 12 h 78"/>
                <a:gd name="T6" fmla="*/ 14 w 417"/>
                <a:gd name="T7" fmla="*/ 24 h 78"/>
                <a:gd name="T8" fmla="*/ 30 w 417"/>
                <a:gd name="T9" fmla="*/ 78 h 78"/>
                <a:gd name="T10" fmla="*/ 54 w 417"/>
                <a:gd name="T11" fmla="*/ 33 h 78"/>
                <a:gd name="T12" fmla="*/ 63 w 417"/>
                <a:gd name="T13" fmla="*/ 78 h 78"/>
                <a:gd name="T14" fmla="*/ 87 w 417"/>
                <a:gd name="T15" fmla="*/ 33 h 78"/>
                <a:gd name="T16" fmla="*/ 95 w 417"/>
                <a:gd name="T17" fmla="*/ 78 h 78"/>
                <a:gd name="T18" fmla="*/ 104 w 417"/>
                <a:gd name="T19" fmla="*/ 28 h 78"/>
                <a:gd name="T20" fmla="*/ 74 w 417"/>
                <a:gd name="T21" fmla="*/ 32 h 78"/>
                <a:gd name="T22" fmla="*/ 49 w 417"/>
                <a:gd name="T23" fmla="*/ 25 h 78"/>
                <a:gd name="T24" fmla="*/ 41 w 417"/>
                <a:gd name="T25" fmla="*/ 24 h 78"/>
                <a:gd name="T26" fmla="*/ 147 w 417"/>
                <a:gd name="T27" fmla="*/ 78 h 78"/>
                <a:gd name="T28" fmla="*/ 191 w 417"/>
                <a:gd name="T29" fmla="*/ 72 h 78"/>
                <a:gd name="T30" fmla="*/ 195 w 417"/>
                <a:gd name="T31" fmla="*/ 45 h 78"/>
                <a:gd name="T32" fmla="*/ 192 w 417"/>
                <a:gd name="T33" fmla="*/ 33 h 78"/>
                <a:gd name="T34" fmla="*/ 188 w 417"/>
                <a:gd name="T35" fmla="*/ 10 h 78"/>
                <a:gd name="T36" fmla="*/ 147 w 417"/>
                <a:gd name="T37" fmla="*/ 6 h 78"/>
                <a:gd name="T38" fmla="*/ 159 w 417"/>
                <a:gd name="T39" fmla="*/ 16 h 78"/>
                <a:gd name="T40" fmla="*/ 183 w 417"/>
                <a:gd name="T41" fmla="*/ 25 h 78"/>
                <a:gd name="T42" fmla="*/ 159 w 417"/>
                <a:gd name="T43" fmla="*/ 35 h 78"/>
                <a:gd name="T44" fmla="*/ 170 w 417"/>
                <a:gd name="T45" fmla="*/ 45 h 78"/>
                <a:gd name="T46" fmla="*/ 182 w 417"/>
                <a:gd name="T47" fmla="*/ 65 h 78"/>
                <a:gd name="T48" fmla="*/ 212 w 417"/>
                <a:gd name="T49" fmla="*/ 78 h 78"/>
                <a:gd name="T50" fmla="*/ 257 w 417"/>
                <a:gd name="T51" fmla="*/ 68 h 78"/>
                <a:gd name="T52" fmla="*/ 257 w 417"/>
                <a:gd name="T53" fmla="*/ 15 h 78"/>
                <a:gd name="T54" fmla="*/ 212 w 417"/>
                <a:gd name="T55" fmla="*/ 78 h 78"/>
                <a:gd name="T56" fmla="*/ 231 w 417"/>
                <a:gd name="T57" fmla="*/ 16 h 78"/>
                <a:gd name="T58" fmla="*/ 248 w 417"/>
                <a:gd name="T59" fmla="*/ 61 h 78"/>
                <a:gd name="T60" fmla="*/ 281 w 417"/>
                <a:gd name="T61" fmla="*/ 78 h 78"/>
                <a:gd name="T62" fmla="*/ 294 w 417"/>
                <a:gd name="T63" fmla="*/ 67 h 78"/>
                <a:gd name="T64" fmla="*/ 320 w 417"/>
                <a:gd name="T65" fmla="*/ 35 h 78"/>
                <a:gd name="T66" fmla="*/ 325 w 417"/>
                <a:gd name="T67" fmla="*/ 16 h 78"/>
                <a:gd name="T68" fmla="*/ 281 w 417"/>
                <a:gd name="T69" fmla="*/ 78 h 78"/>
                <a:gd name="T70" fmla="*/ 372 w 417"/>
                <a:gd name="T71" fmla="*/ 40 h 78"/>
                <a:gd name="T72" fmla="*/ 375 w 417"/>
                <a:gd name="T73" fmla="*/ 23 h 78"/>
                <a:gd name="T74" fmla="*/ 388 w 417"/>
                <a:gd name="T75" fmla="*/ 78 h 78"/>
                <a:gd name="T76" fmla="*/ 405 w 417"/>
                <a:gd name="T77" fmla="*/ 6 h 78"/>
                <a:gd name="T78" fmla="*/ 395 w 417"/>
                <a:gd name="T79" fmla="*/ 65 h 78"/>
                <a:gd name="T80" fmla="*/ 390 w 417"/>
                <a:gd name="T81" fmla="*/ 42 h 78"/>
                <a:gd name="T82" fmla="*/ 361 w 417"/>
                <a:gd name="T83" fmla="*/ 42 h 78"/>
                <a:gd name="T84" fmla="*/ 356 w 417"/>
                <a:gd name="T85" fmla="*/ 65 h 78"/>
                <a:gd name="T86" fmla="*/ 346 w 417"/>
                <a:gd name="T87" fmla="*/ 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17" h="78">
                  <a:moveTo>
                    <a:pt x="13" y="12"/>
                  </a:moveTo>
                  <a:cubicBezTo>
                    <a:pt x="15" y="11"/>
                    <a:pt x="16" y="9"/>
                    <a:pt x="16" y="7"/>
                  </a:cubicBezTo>
                  <a:cubicBezTo>
                    <a:pt x="16" y="5"/>
                    <a:pt x="15" y="3"/>
                    <a:pt x="13" y="2"/>
                  </a:cubicBezTo>
                  <a:cubicBezTo>
                    <a:pt x="12" y="0"/>
                    <a:pt x="10" y="0"/>
                    <a:pt x="8" y="0"/>
                  </a:cubicBezTo>
                  <a:cubicBezTo>
                    <a:pt x="6" y="0"/>
                    <a:pt x="4" y="0"/>
                    <a:pt x="2" y="2"/>
                  </a:cubicBezTo>
                  <a:cubicBezTo>
                    <a:pt x="1" y="3"/>
                    <a:pt x="0" y="5"/>
                    <a:pt x="0" y="7"/>
                  </a:cubicBezTo>
                  <a:cubicBezTo>
                    <a:pt x="0" y="9"/>
                    <a:pt x="1" y="11"/>
                    <a:pt x="2" y="12"/>
                  </a:cubicBezTo>
                  <a:cubicBezTo>
                    <a:pt x="4" y="13"/>
                    <a:pt x="6" y="14"/>
                    <a:pt x="8" y="14"/>
                  </a:cubicBezTo>
                  <a:cubicBezTo>
                    <a:pt x="10" y="14"/>
                    <a:pt x="12" y="13"/>
                    <a:pt x="13" y="12"/>
                  </a:cubicBezTo>
                  <a:close/>
                  <a:moveTo>
                    <a:pt x="1" y="78"/>
                  </a:moveTo>
                  <a:lnTo>
                    <a:pt x="14" y="78"/>
                  </a:lnTo>
                  <a:lnTo>
                    <a:pt x="14" y="24"/>
                  </a:lnTo>
                  <a:lnTo>
                    <a:pt x="1" y="24"/>
                  </a:lnTo>
                  <a:lnTo>
                    <a:pt x="1" y="78"/>
                  </a:lnTo>
                  <a:close/>
                  <a:moveTo>
                    <a:pt x="30" y="78"/>
                  </a:moveTo>
                  <a:lnTo>
                    <a:pt x="43" y="78"/>
                  </a:lnTo>
                  <a:lnTo>
                    <a:pt x="43" y="40"/>
                  </a:lnTo>
                  <a:cubicBezTo>
                    <a:pt x="47" y="35"/>
                    <a:pt x="51" y="33"/>
                    <a:pt x="54" y="33"/>
                  </a:cubicBezTo>
                  <a:cubicBezTo>
                    <a:pt x="57" y="33"/>
                    <a:pt x="59" y="34"/>
                    <a:pt x="61" y="36"/>
                  </a:cubicBezTo>
                  <a:cubicBezTo>
                    <a:pt x="62" y="38"/>
                    <a:pt x="63" y="41"/>
                    <a:pt x="63" y="45"/>
                  </a:cubicBezTo>
                  <a:lnTo>
                    <a:pt x="63" y="78"/>
                  </a:lnTo>
                  <a:lnTo>
                    <a:pt x="75" y="78"/>
                  </a:lnTo>
                  <a:lnTo>
                    <a:pt x="75" y="40"/>
                  </a:lnTo>
                  <a:cubicBezTo>
                    <a:pt x="79" y="35"/>
                    <a:pt x="83" y="33"/>
                    <a:pt x="87" y="33"/>
                  </a:cubicBezTo>
                  <a:cubicBezTo>
                    <a:pt x="89" y="33"/>
                    <a:pt x="91" y="34"/>
                    <a:pt x="93" y="36"/>
                  </a:cubicBezTo>
                  <a:cubicBezTo>
                    <a:pt x="94" y="38"/>
                    <a:pt x="95" y="41"/>
                    <a:pt x="95" y="45"/>
                  </a:cubicBezTo>
                  <a:lnTo>
                    <a:pt x="95" y="78"/>
                  </a:lnTo>
                  <a:lnTo>
                    <a:pt x="108" y="78"/>
                  </a:lnTo>
                  <a:lnTo>
                    <a:pt x="108" y="44"/>
                  </a:lnTo>
                  <a:cubicBezTo>
                    <a:pt x="108" y="37"/>
                    <a:pt x="106" y="32"/>
                    <a:pt x="104" y="28"/>
                  </a:cubicBezTo>
                  <a:cubicBezTo>
                    <a:pt x="101" y="24"/>
                    <a:pt x="97" y="22"/>
                    <a:pt x="91" y="22"/>
                  </a:cubicBezTo>
                  <a:cubicBezTo>
                    <a:pt x="87" y="22"/>
                    <a:pt x="84" y="23"/>
                    <a:pt x="82" y="25"/>
                  </a:cubicBezTo>
                  <a:cubicBezTo>
                    <a:pt x="79" y="27"/>
                    <a:pt x="76" y="29"/>
                    <a:pt x="74" y="32"/>
                  </a:cubicBezTo>
                  <a:cubicBezTo>
                    <a:pt x="72" y="29"/>
                    <a:pt x="70" y="27"/>
                    <a:pt x="68" y="25"/>
                  </a:cubicBezTo>
                  <a:cubicBezTo>
                    <a:pt x="66" y="23"/>
                    <a:pt x="63" y="22"/>
                    <a:pt x="59" y="22"/>
                  </a:cubicBezTo>
                  <a:cubicBezTo>
                    <a:pt x="55" y="22"/>
                    <a:pt x="52" y="23"/>
                    <a:pt x="49" y="25"/>
                  </a:cubicBezTo>
                  <a:cubicBezTo>
                    <a:pt x="47" y="27"/>
                    <a:pt x="44" y="29"/>
                    <a:pt x="42" y="31"/>
                  </a:cubicBezTo>
                  <a:lnTo>
                    <a:pt x="42" y="31"/>
                  </a:lnTo>
                  <a:lnTo>
                    <a:pt x="41" y="24"/>
                  </a:lnTo>
                  <a:lnTo>
                    <a:pt x="30" y="24"/>
                  </a:lnTo>
                  <a:lnTo>
                    <a:pt x="30" y="78"/>
                  </a:lnTo>
                  <a:close/>
                  <a:moveTo>
                    <a:pt x="147" y="78"/>
                  </a:moveTo>
                  <a:lnTo>
                    <a:pt x="172" y="78"/>
                  </a:lnTo>
                  <a:cubicBezTo>
                    <a:pt x="176" y="78"/>
                    <a:pt x="179" y="77"/>
                    <a:pt x="183" y="76"/>
                  </a:cubicBezTo>
                  <a:cubicBezTo>
                    <a:pt x="186" y="76"/>
                    <a:pt x="189" y="74"/>
                    <a:pt x="191" y="72"/>
                  </a:cubicBezTo>
                  <a:cubicBezTo>
                    <a:pt x="194" y="71"/>
                    <a:pt x="196" y="69"/>
                    <a:pt x="197" y="66"/>
                  </a:cubicBezTo>
                  <a:cubicBezTo>
                    <a:pt x="198" y="63"/>
                    <a:pt x="199" y="60"/>
                    <a:pt x="199" y="57"/>
                  </a:cubicBezTo>
                  <a:cubicBezTo>
                    <a:pt x="199" y="52"/>
                    <a:pt x="198" y="48"/>
                    <a:pt x="195" y="45"/>
                  </a:cubicBezTo>
                  <a:cubicBezTo>
                    <a:pt x="192" y="42"/>
                    <a:pt x="188" y="40"/>
                    <a:pt x="183" y="39"/>
                  </a:cubicBezTo>
                  <a:lnTo>
                    <a:pt x="183" y="39"/>
                  </a:lnTo>
                  <a:cubicBezTo>
                    <a:pt x="187" y="38"/>
                    <a:pt x="190" y="36"/>
                    <a:pt x="192" y="33"/>
                  </a:cubicBezTo>
                  <a:cubicBezTo>
                    <a:pt x="194" y="30"/>
                    <a:pt x="195" y="27"/>
                    <a:pt x="195" y="23"/>
                  </a:cubicBezTo>
                  <a:cubicBezTo>
                    <a:pt x="195" y="20"/>
                    <a:pt x="195" y="17"/>
                    <a:pt x="194" y="15"/>
                  </a:cubicBezTo>
                  <a:cubicBezTo>
                    <a:pt x="192" y="13"/>
                    <a:pt x="190" y="11"/>
                    <a:pt x="188" y="10"/>
                  </a:cubicBezTo>
                  <a:cubicBezTo>
                    <a:pt x="186" y="8"/>
                    <a:pt x="183" y="7"/>
                    <a:pt x="180" y="7"/>
                  </a:cubicBezTo>
                  <a:cubicBezTo>
                    <a:pt x="177" y="6"/>
                    <a:pt x="173" y="6"/>
                    <a:pt x="170" y="6"/>
                  </a:cubicBezTo>
                  <a:lnTo>
                    <a:pt x="147" y="6"/>
                  </a:lnTo>
                  <a:lnTo>
                    <a:pt x="147" y="78"/>
                  </a:lnTo>
                  <a:close/>
                  <a:moveTo>
                    <a:pt x="159" y="35"/>
                  </a:moveTo>
                  <a:lnTo>
                    <a:pt x="159" y="16"/>
                  </a:lnTo>
                  <a:lnTo>
                    <a:pt x="169" y="16"/>
                  </a:lnTo>
                  <a:cubicBezTo>
                    <a:pt x="174" y="16"/>
                    <a:pt x="177" y="16"/>
                    <a:pt x="179" y="18"/>
                  </a:cubicBezTo>
                  <a:cubicBezTo>
                    <a:pt x="182" y="19"/>
                    <a:pt x="183" y="22"/>
                    <a:pt x="183" y="25"/>
                  </a:cubicBezTo>
                  <a:cubicBezTo>
                    <a:pt x="183" y="28"/>
                    <a:pt x="182" y="31"/>
                    <a:pt x="180" y="33"/>
                  </a:cubicBezTo>
                  <a:cubicBezTo>
                    <a:pt x="177" y="35"/>
                    <a:pt x="174" y="35"/>
                    <a:pt x="169" y="35"/>
                  </a:cubicBezTo>
                  <a:lnTo>
                    <a:pt x="159" y="35"/>
                  </a:lnTo>
                  <a:close/>
                  <a:moveTo>
                    <a:pt x="159" y="68"/>
                  </a:moveTo>
                  <a:lnTo>
                    <a:pt x="159" y="45"/>
                  </a:lnTo>
                  <a:lnTo>
                    <a:pt x="170" y="45"/>
                  </a:lnTo>
                  <a:cubicBezTo>
                    <a:pt x="176" y="45"/>
                    <a:pt x="180" y="46"/>
                    <a:pt x="183" y="47"/>
                  </a:cubicBezTo>
                  <a:cubicBezTo>
                    <a:pt x="185" y="49"/>
                    <a:pt x="187" y="52"/>
                    <a:pt x="187" y="56"/>
                  </a:cubicBezTo>
                  <a:cubicBezTo>
                    <a:pt x="187" y="60"/>
                    <a:pt x="185" y="63"/>
                    <a:pt x="182" y="65"/>
                  </a:cubicBezTo>
                  <a:cubicBezTo>
                    <a:pt x="180" y="67"/>
                    <a:pt x="176" y="68"/>
                    <a:pt x="170" y="68"/>
                  </a:cubicBezTo>
                  <a:lnTo>
                    <a:pt x="159" y="68"/>
                  </a:lnTo>
                  <a:close/>
                  <a:moveTo>
                    <a:pt x="212" y="78"/>
                  </a:moveTo>
                  <a:lnTo>
                    <a:pt x="232" y="78"/>
                  </a:lnTo>
                  <a:cubicBezTo>
                    <a:pt x="238" y="78"/>
                    <a:pt x="242" y="77"/>
                    <a:pt x="247" y="75"/>
                  </a:cubicBezTo>
                  <a:cubicBezTo>
                    <a:pt x="251" y="74"/>
                    <a:pt x="254" y="71"/>
                    <a:pt x="257" y="68"/>
                  </a:cubicBezTo>
                  <a:cubicBezTo>
                    <a:pt x="260" y="65"/>
                    <a:pt x="263" y="62"/>
                    <a:pt x="264" y="57"/>
                  </a:cubicBezTo>
                  <a:cubicBezTo>
                    <a:pt x="266" y="53"/>
                    <a:pt x="267" y="47"/>
                    <a:pt x="267" y="41"/>
                  </a:cubicBezTo>
                  <a:cubicBezTo>
                    <a:pt x="267" y="29"/>
                    <a:pt x="264" y="21"/>
                    <a:pt x="257" y="15"/>
                  </a:cubicBezTo>
                  <a:cubicBezTo>
                    <a:pt x="251" y="9"/>
                    <a:pt x="243" y="6"/>
                    <a:pt x="232" y="6"/>
                  </a:cubicBezTo>
                  <a:lnTo>
                    <a:pt x="212" y="6"/>
                  </a:lnTo>
                  <a:lnTo>
                    <a:pt x="212" y="78"/>
                  </a:lnTo>
                  <a:close/>
                  <a:moveTo>
                    <a:pt x="225" y="67"/>
                  </a:moveTo>
                  <a:lnTo>
                    <a:pt x="225" y="16"/>
                  </a:lnTo>
                  <a:lnTo>
                    <a:pt x="231" y="16"/>
                  </a:lnTo>
                  <a:cubicBezTo>
                    <a:pt x="238" y="16"/>
                    <a:pt x="244" y="18"/>
                    <a:pt x="248" y="22"/>
                  </a:cubicBezTo>
                  <a:cubicBezTo>
                    <a:pt x="252" y="26"/>
                    <a:pt x="254" y="33"/>
                    <a:pt x="254" y="41"/>
                  </a:cubicBezTo>
                  <a:cubicBezTo>
                    <a:pt x="254" y="50"/>
                    <a:pt x="252" y="57"/>
                    <a:pt x="248" y="61"/>
                  </a:cubicBezTo>
                  <a:cubicBezTo>
                    <a:pt x="244" y="65"/>
                    <a:pt x="238" y="67"/>
                    <a:pt x="231" y="67"/>
                  </a:cubicBezTo>
                  <a:lnTo>
                    <a:pt x="225" y="67"/>
                  </a:lnTo>
                  <a:close/>
                  <a:moveTo>
                    <a:pt x="281" y="78"/>
                  </a:moveTo>
                  <a:lnTo>
                    <a:pt x="326" y="78"/>
                  </a:lnTo>
                  <a:lnTo>
                    <a:pt x="326" y="67"/>
                  </a:lnTo>
                  <a:lnTo>
                    <a:pt x="294" y="67"/>
                  </a:lnTo>
                  <a:lnTo>
                    <a:pt x="294" y="46"/>
                  </a:lnTo>
                  <a:lnTo>
                    <a:pt x="320" y="46"/>
                  </a:lnTo>
                  <a:lnTo>
                    <a:pt x="320" y="35"/>
                  </a:lnTo>
                  <a:lnTo>
                    <a:pt x="294" y="35"/>
                  </a:lnTo>
                  <a:lnTo>
                    <a:pt x="294" y="16"/>
                  </a:lnTo>
                  <a:lnTo>
                    <a:pt x="325" y="16"/>
                  </a:lnTo>
                  <a:lnTo>
                    <a:pt x="325" y="6"/>
                  </a:lnTo>
                  <a:lnTo>
                    <a:pt x="281" y="6"/>
                  </a:lnTo>
                  <a:lnTo>
                    <a:pt x="281" y="78"/>
                  </a:lnTo>
                  <a:close/>
                  <a:moveTo>
                    <a:pt x="348" y="78"/>
                  </a:moveTo>
                  <a:lnTo>
                    <a:pt x="363" y="78"/>
                  </a:lnTo>
                  <a:lnTo>
                    <a:pt x="372" y="40"/>
                  </a:lnTo>
                  <a:cubicBezTo>
                    <a:pt x="372" y="37"/>
                    <a:pt x="373" y="34"/>
                    <a:pt x="373" y="31"/>
                  </a:cubicBezTo>
                  <a:cubicBezTo>
                    <a:pt x="374" y="29"/>
                    <a:pt x="375" y="26"/>
                    <a:pt x="375" y="23"/>
                  </a:cubicBezTo>
                  <a:lnTo>
                    <a:pt x="375" y="23"/>
                  </a:lnTo>
                  <a:cubicBezTo>
                    <a:pt x="376" y="26"/>
                    <a:pt x="376" y="29"/>
                    <a:pt x="377" y="31"/>
                  </a:cubicBezTo>
                  <a:cubicBezTo>
                    <a:pt x="378" y="34"/>
                    <a:pt x="378" y="37"/>
                    <a:pt x="379" y="40"/>
                  </a:cubicBezTo>
                  <a:lnTo>
                    <a:pt x="388" y="78"/>
                  </a:lnTo>
                  <a:lnTo>
                    <a:pt x="403" y="78"/>
                  </a:lnTo>
                  <a:lnTo>
                    <a:pt x="417" y="6"/>
                  </a:lnTo>
                  <a:lnTo>
                    <a:pt x="405" y="6"/>
                  </a:lnTo>
                  <a:lnTo>
                    <a:pt x="399" y="42"/>
                  </a:lnTo>
                  <a:cubicBezTo>
                    <a:pt x="398" y="46"/>
                    <a:pt x="398" y="50"/>
                    <a:pt x="397" y="53"/>
                  </a:cubicBezTo>
                  <a:cubicBezTo>
                    <a:pt x="396" y="57"/>
                    <a:pt x="396" y="61"/>
                    <a:pt x="395" y="65"/>
                  </a:cubicBezTo>
                  <a:lnTo>
                    <a:pt x="395" y="65"/>
                  </a:lnTo>
                  <a:cubicBezTo>
                    <a:pt x="394" y="61"/>
                    <a:pt x="393" y="57"/>
                    <a:pt x="392" y="53"/>
                  </a:cubicBezTo>
                  <a:cubicBezTo>
                    <a:pt x="392" y="50"/>
                    <a:pt x="391" y="46"/>
                    <a:pt x="390" y="42"/>
                  </a:cubicBezTo>
                  <a:lnTo>
                    <a:pt x="381" y="6"/>
                  </a:lnTo>
                  <a:lnTo>
                    <a:pt x="370" y="6"/>
                  </a:lnTo>
                  <a:lnTo>
                    <a:pt x="361" y="42"/>
                  </a:lnTo>
                  <a:cubicBezTo>
                    <a:pt x="360" y="46"/>
                    <a:pt x="360" y="50"/>
                    <a:pt x="359" y="53"/>
                  </a:cubicBezTo>
                  <a:cubicBezTo>
                    <a:pt x="358" y="57"/>
                    <a:pt x="357" y="61"/>
                    <a:pt x="357" y="65"/>
                  </a:cubicBezTo>
                  <a:lnTo>
                    <a:pt x="356" y="65"/>
                  </a:lnTo>
                  <a:cubicBezTo>
                    <a:pt x="356" y="61"/>
                    <a:pt x="355" y="57"/>
                    <a:pt x="354" y="54"/>
                  </a:cubicBezTo>
                  <a:cubicBezTo>
                    <a:pt x="354" y="50"/>
                    <a:pt x="353" y="46"/>
                    <a:pt x="353" y="42"/>
                  </a:cubicBezTo>
                  <a:lnTo>
                    <a:pt x="346" y="6"/>
                  </a:lnTo>
                  <a:lnTo>
                    <a:pt x="333" y="6"/>
                  </a:lnTo>
                  <a:lnTo>
                    <a:pt x="348" y="78"/>
                  </a:lnTo>
                </a:path>
              </a:pathLst>
            </a:custGeom>
            <a:solidFill>
              <a:srgbClr val="0068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CE8E9874-6CBF-4AF8-BF4C-DBA8404CAE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96113" y="264299"/>
              <a:ext cx="685353" cy="56749"/>
            </a:xfrm>
            <a:custGeom>
              <a:avLst/>
              <a:gdLst>
                <a:gd name="T0" fmla="*/ 19 w 982"/>
                <a:gd name="T1" fmla="*/ 7 h 80"/>
                <a:gd name="T2" fmla="*/ 35 w 982"/>
                <a:gd name="T3" fmla="*/ 62 h 80"/>
                <a:gd name="T4" fmla="*/ 66 w 982"/>
                <a:gd name="T5" fmla="*/ 8 h 80"/>
                <a:gd name="T6" fmla="*/ 68 w 982"/>
                <a:gd name="T7" fmla="*/ 79 h 80"/>
                <a:gd name="T8" fmla="*/ 128 w 982"/>
                <a:gd name="T9" fmla="*/ 69 h 80"/>
                <a:gd name="T10" fmla="*/ 128 w 982"/>
                <a:gd name="T11" fmla="*/ 25 h 80"/>
                <a:gd name="T12" fmla="*/ 110 w 982"/>
                <a:gd name="T13" fmla="*/ 36 h 80"/>
                <a:gd name="T14" fmla="*/ 209 w 982"/>
                <a:gd name="T15" fmla="*/ 32 h 80"/>
                <a:gd name="T16" fmla="*/ 241 w 982"/>
                <a:gd name="T17" fmla="*/ 7 h 80"/>
                <a:gd name="T18" fmla="*/ 206 w 982"/>
                <a:gd name="T19" fmla="*/ 7 h 80"/>
                <a:gd name="T20" fmla="*/ 169 w 982"/>
                <a:gd name="T21" fmla="*/ 7 h 80"/>
                <a:gd name="T22" fmla="*/ 304 w 982"/>
                <a:gd name="T23" fmla="*/ 79 h 80"/>
                <a:gd name="T24" fmla="*/ 281 w 982"/>
                <a:gd name="T25" fmla="*/ 33 h 80"/>
                <a:gd name="T26" fmla="*/ 272 w 982"/>
                <a:gd name="T27" fmla="*/ 59 h 80"/>
                <a:gd name="T28" fmla="*/ 271 w 982"/>
                <a:gd name="T29" fmla="*/ 63 h 80"/>
                <a:gd name="T30" fmla="*/ 355 w 982"/>
                <a:gd name="T31" fmla="*/ 63 h 80"/>
                <a:gd name="T32" fmla="*/ 328 w 982"/>
                <a:gd name="T33" fmla="*/ 39 h 80"/>
                <a:gd name="T34" fmla="*/ 322 w 982"/>
                <a:gd name="T35" fmla="*/ 28 h 80"/>
                <a:gd name="T36" fmla="*/ 342 w 982"/>
                <a:gd name="T37" fmla="*/ 61 h 80"/>
                <a:gd name="T38" fmla="*/ 370 w 982"/>
                <a:gd name="T39" fmla="*/ 78 h 80"/>
                <a:gd name="T40" fmla="*/ 392 w 982"/>
                <a:gd name="T41" fmla="*/ 49 h 80"/>
                <a:gd name="T42" fmla="*/ 390 w 982"/>
                <a:gd name="T43" fmla="*/ 34 h 80"/>
                <a:gd name="T44" fmla="*/ 369 w 982"/>
                <a:gd name="T45" fmla="*/ 50 h 80"/>
                <a:gd name="T46" fmla="*/ 382 w 982"/>
                <a:gd name="T47" fmla="*/ 70 h 80"/>
                <a:gd name="T48" fmla="*/ 447 w 982"/>
                <a:gd name="T49" fmla="*/ 78 h 80"/>
                <a:gd name="T50" fmla="*/ 457 w 982"/>
                <a:gd name="T51" fmla="*/ 49 h 80"/>
                <a:gd name="T52" fmla="*/ 410 w 982"/>
                <a:gd name="T53" fmla="*/ 52 h 80"/>
                <a:gd name="T54" fmla="*/ 470 w 982"/>
                <a:gd name="T55" fmla="*/ 79 h 80"/>
                <a:gd name="T56" fmla="*/ 497 w 982"/>
                <a:gd name="T57" fmla="*/ 23 h 80"/>
                <a:gd name="T58" fmla="*/ 535 w 982"/>
                <a:gd name="T59" fmla="*/ 79 h 80"/>
                <a:gd name="T60" fmla="*/ 569 w 982"/>
                <a:gd name="T61" fmla="*/ 79 h 80"/>
                <a:gd name="T62" fmla="*/ 558 w 982"/>
                <a:gd name="T63" fmla="*/ 53 h 80"/>
                <a:gd name="T64" fmla="*/ 525 w 982"/>
                <a:gd name="T65" fmla="*/ 53 h 80"/>
                <a:gd name="T66" fmla="*/ 595 w 982"/>
                <a:gd name="T67" fmla="*/ 3 h 80"/>
                <a:gd name="T68" fmla="*/ 594 w 982"/>
                <a:gd name="T69" fmla="*/ 25 h 80"/>
                <a:gd name="T70" fmla="*/ 654 w 982"/>
                <a:gd name="T71" fmla="*/ 35 h 80"/>
                <a:gd name="T72" fmla="*/ 623 w 982"/>
                <a:gd name="T73" fmla="*/ 79 h 80"/>
                <a:gd name="T74" fmla="*/ 692 w 982"/>
                <a:gd name="T75" fmla="*/ 69 h 80"/>
                <a:gd name="T76" fmla="*/ 678 w 982"/>
                <a:gd name="T77" fmla="*/ 10 h 80"/>
                <a:gd name="T78" fmla="*/ 707 w 982"/>
                <a:gd name="T79" fmla="*/ 78 h 80"/>
                <a:gd name="T80" fmla="*/ 730 w 982"/>
                <a:gd name="T81" fmla="*/ 49 h 80"/>
                <a:gd name="T82" fmla="*/ 727 w 982"/>
                <a:gd name="T83" fmla="*/ 34 h 80"/>
                <a:gd name="T84" fmla="*/ 706 w 982"/>
                <a:gd name="T85" fmla="*/ 50 h 80"/>
                <a:gd name="T86" fmla="*/ 719 w 982"/>
                <a:gd name="T87" fmla="*/ 70 h 80"/>
                <a:gd name="T88" fmla="*/ 783 w 982"/>
                <a:gd name="T89" fmla="*/ 78 h 80"/>
                <a:gd name="T90" fmla="*/ 775 w 982"/>
                <a:gd name="T91" fmla="*/ 34 h 80"/>
                <a:gd name="T92" fmla="*/ 750 w 982"/>
                <a:gd name="T93" fmla="*/ 40 h 80"/>
                <a:gd name="T94" fmla="*/ 833 w 982"/>
                <a:gd name="T95" fmla="*/ 37 h 80"/>
                <a:gd name="T96" fmla="*/ 814 w 982"/>
                <a:gd name="T97" fmla="*/ 31 h 80"/>
                <a:gd name="T98" fmla="*/ 894 w 982"/>
                <a:gd name="T99" fmla="*/ 73 h 80"/>
                <a:gd name="T100" fmla="*/ 863 w 982"/>
                <a:gd name="T101" fmla="*/ 30 h 80"/>
                <a:gd name="T102" fmla="*/ 868 w 982"/>
                <a:gd name="T103" fmla="*/ 51 h 80"/>
                <a:gd name="T104" fmla="*/ 887 w 982"/>
                <a:gd name="T105" fmla="*/ 68 h 80"/>
                <a:gd name="T106" fmla="*/ 966 w 982"/>
                <a:gd name="T107" fmla="*/ 60 h 80"/>
                <a:gd name="T108" fmla="*/ 936 w 982"/>
                <a:gd name="T109" fmla="*/ 25 h 80"/>
                <a:gd name="T110" fmla="*/ 927 w 982"/>
                <a:gd name="T111" fmla="*/ 5 h 80"/>
                <a:gd name="T112" fmla="*/ 936 w 982"/>
                <a:gd name="T113" fmla="*/ 79 h 80"/>
                <a:gd name="T114" fmla="*/ 977 w 982"/>
                <a:gd name="T115" fmla="*/ 7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82" h="80">
                  <a:moveTo>
                    <a:pt x="0" y="79"/>
                  </a:moveTo>
                  <a:lnTo>
                    <a:pt x="20" y="79"/>
                  </a:lnTo>
                  <a:cubicBezTo>
                    <a:pt x="25" y="79"/>
                    <a:pt x="30" y="78"/>
                    <a:pt x="34" y="76"/>
                  </a:cubicBezTo>
                  <a:cubicBezTo>
                    <a:pt x="39" y="75"/>
                    <a:pt x="42" y="72"/>
                    <a:pt x="45" y="69"/>
                  </a:cubicBezTo>
                  <a:cubicBezTo>
                    <a:pt x="48" y="66"/>
                    <a:pt x="50" y="63"/>
                    <a:pt x="52" y="58"/>
                  </a:cubicBezTo>
                  <a:cubicBezTo>
                    <a:pt x="53" y="53"/>
                    <a:pt x="54" y="48"/>
                    <a:pt x="54" y="42"/>
                  </a:cubicBezTo>
                  <a:cubicBezTo>
                    <a:pt x="54" y="30"/>
                    <a:pt x="51" y="21"/>
                    <a:pt x="45" y="16"/>
                  </a:cubicBezTo>
                  <a:cubicBezTo>
                    <a:pt x="39" y="10"/>
                    <a:pt x="30" y="7"/>
                    <a:pt x="19" y="7"/>
                  </a:cubicBezTo>
                  <a:lnTo>
                    <a:pt x="0" y="7"/>
                  </a:lnTo>
                  <a:lnTo>
                    <a:pt x="0" y="79"/>
                  </a:lnTo>
                  <a:close/>
                  <a:moveTo>
                    <a:pt x="13" y="68"/>
                  </a:moveTo>
                  <a:lnTo>
                    <a:pt x="13" y="17"/>
                  </a:lnTo>
                  <a:lnTo>
                    <a:pt x="18" y="17"/>
                  </a:lnTo>
                  <a:cubicBezTo>
                    <a:pt x="26" y="17"/>
                    <a:pt x="31" y="19"/>
                    <a:pt x="35" y="23"/>
                  </a:cubicBezTo>
                  <a:cubicBezTo>
                    <a:pt x="39" y="27"/>
                    <a:pt x="41" y="33"/>
                    <a:pt x="41" y="42"/>
                  </a:cubicBezTo>
                  <a:cubicBezTo>
                    <a:pt x="41" y="51"/>
                    <a:pt x="39" y="58"/>
                    <a:pt x="35" y="62"/>
                  </a:cubicBezTo>
                  <a:cubicBezTo>
                    <a:pt x="31" y="66"/>
                    <a:pt x="26" y="68"/>
                    <a:pt x="18" y="68"/>
                  </a:cubicBezTo>
                  <a:lnTo>
                    <a:pt x="13" y="68"/>
                  </a:lnTo>
                  <a:close/>
                  <a:moveTo>
                    <a:pt x="80" y="13"/>
                  </a:moveTo>
                  <a:cubicBezTo>
                    <a:pt x="81" y="12"/>
                    <a:pt x="82" y="10"/>
                    <a:pt x="82" y="8"/>
                  </a:cubicBezTo>
                  <a:cubicBezTo>
                    <a:pt x="82" y="6"/>
                    <a:pt x="81" y="4"/>
                    <a:pt x="80" y="3"/>
                  </a:cubicBezTo>
                  <a:cubicBezTo>
                    <a:pt x="78" y="1"/>
                    <a:pt x="76" y="1"/>
                    <a:pt x="74" y="1"/>
                  </a:cubicBezTo>
                  <a:cubicBezTo>
                    <a:pt x="72" y="1"/>
                    <a:pt x="70" y="1"/>
                    <a:pt x="68" y="3"/>
                  </a:cubicBezTo>
                  <a:cubicBezTo>
                    <a:pt x="67" y="4"/>
                    <a:pt x="66" y="6"/>
                    <a:pt x="66" y="8"/>
                  </a:cubicBezTo>
                  <a:cubicBezTo>
                    <a:pt x="66" y="10"/>
                    <a:pt x="67" y="12"/>
                    <a:pt x="68" y="13"/>
                  </a:cubicBezTo>
                  <a:cubicBezTo>
                    <a:pt x="70" y="14"/>
                    <a:pt x="72" y="15"/>
                    <a:pt x="74" y="15"/>
                  </a:cubicBezTo>
                  <a:cubicBezTo>
                    <a:pt x="76" y="15"/>
                    <a:pt x="78" y="14"/>
                    <a:pt x="80" y="13"/>
                  </a:cubicBezTo>
                  <a:close/>
                  <a:moveTo>
                    <a:pt x="68" y="79"/>
                  </a:moveTo>
                  <a:lnTo>
                    <a:pt x="80" y="79"/>
                  </a:lnTo>
                  <a:lnTo>
                    <a:pt x="80" y="25"/>
                  </a:lnTo>
                  <a:lnTo>
                    <a:pt x="68" y="25"/>
                  </a:lnTo>
                  <a:lnTo>
                    <a:pt x="68" y="79"/>
                  </a:lnTo>
                  <a:close/>
                  <a:moveTo>
                    <a:pt x="95" y="64"/>
                  </a:moveTo>
                  <a:cubicBezTo>
                    <a:pt x="96" y="67"/>
                    <a:pt x="98" y="70"/>
                    <a:pt x="101" y="72"/>
                  </a:cubicBezTo>
                  <a:cubicBezTo>
                    <a:pt x="103" y="75"/>
                    <a:pt x="106" y="77"/>
                    <a:pt x="109" y="78"/>
                  </a:cubicBezTo>
                  <a:cubicBezTo>
                    <a:pt x="112" y="79"/>
                    <a:pt x="116" y="80"/>
                    <a:pt x="120" y="80"/>
                  </a:cubicBezTo>
                  <a:cubicBezTo>
                    <a:pt x="123" y="80"/>
                    <a:pt x="126" y="79"/>
                    <a:pt x="130" y="78"/>
                  </a:cubicBezTo>
                  <a:cubicBezTo>
                    <a:pt x="133" y="77"/>
                    <a:pt x="136" y="76"/>
                    <a:pt x="138" y="74"/>
                  </a:cubicBezTo>
                  <a:lnTo>
                    <a:pt x="134" y="66"/>
                  </a:lnTo>
                  <a:cubicBezTo>
                    <a:pt x="132" y="67"/>
                    <a:pt x="130" y="68"/>
                    <a:pt x="128" y="69"/>
                  </a:cubicBezTo>
                  <a:cubicBezTo>
                    <a:pt x="126" y="70"/>
                    <a:pt x="124" y="70"/>
                    <a:pt x="121" y="70"/>
                  </a:cubicBezTo>
                  <a:cubicBezTo>
                    <a:pt x="117" y="70"/>
                    <a:pt x="113" y="69"/>
                    <a:pt x="110" y="66"/>
                  </a:cubicBezTo>
                  <a:cubicBezTo>
                    <a:pt x="108" y="63"/>
                    <a:pt x="106" y="60"/>
                    <a:pt x="105" y="55"/>
                  </a:cubicBezTo>
                  <a:lnTo>
                    <a:pt x="140" y="55"/>
                  </a:lnTo>
                  <a:cubicBezTo>
                    <a:pt x="140" y="53"/>
                    <a:pt x="140" y="51"/>
                    <a:pt x="140" y="49"/>
                  </a:cubicBezTo>
                  <a:cubicBezTo>
                    <a:pt x="140" y="45"/>
                    <a:pt x="140" y="42"/>
                    <a:pt x="139" y="39"/>
                  </a:cubicBezTo>
                  <a:cubicBezTo>
                    <a:pt x="138" y="35"/>
                    <a:pt x="136" y="33"/>
                    <a:pt x="135" y="30"/>
                  </a:cubicBezTo>
                  <a:cubicBezTo>
                    <a:pt x="133" y="28"/>
                    <a:pt x="130" y="26"/>
                    <a:pt x="128" y="25"/>
                  </a:cubicBezTo>
                  <a:cubicBezTo>
                    <a:pt x="125" y="24"/>
                    <a:pt x="122" y="23"/>
                    <a:pt x="118" y="23"/>
                  </a:cubicBezTo>
                  <a:cubicBezTo>
                    <a:pt x="115" y="23"/>
                    <a:pt x="112" y="24"/>
                    <a:pt x="109" y="25"/>
                  </a:cubicBezTo>
                  <a:cubicBezTo>
                    <a:pt x="106" y="27"/>
                    <a:pt x="103" y="28"/>
                    <a:pt x="101" y="31"/>
                  </a:cubicBezTo>
                  <a:cubicBezTo>
                    <a:pt x="98" y="33"/>
                    <a:pt x="96" y="36"/>
                    <a:pt x="95" y="40"/>
                  </a:cubicBezTo>
                  <a:cubicBezTo>
                    <a:pt x="94" y="43"/>
                    <a:pt x="93" y="47"/>
                    <a:pt x="93" y="52"/>
                  </a:cubicBezTo>
                  <a:cubicBezTo>
                    <a:pt x="93" y="56"/>
                    <a:pt x="94" y="60"/>
                    <a:pt x="95" y="64"/>
                  </a:cubicBezTo>
                  <a:moveTo>
                    <a:pt x="105" y="47"/>
                  </a:moveTo>
                  <a:cubicBezTo>
                    <a:pt x="106" y="42"/>
                    <a:pt x="107" y="39"/>
                    <a:pt x="110" y="36"/>
                  </a:cubicBezTo>
                  <a:cubicBezTo>
                    <a:pt x="112" y="34"/>
                    <a:pt x="115" y="33"/>
                    <a:pt x="118" y="33"/>
                  </a:cubicBezTo>
                  <a:cubicBezTo>
                    <a:pt x="122" y="33"/>
                    <a:pt x="125" y="34"/>
                    <a:pt x="126" y="37"/>
                  </a:cubicBezTo>
                  <a:cubicBezTo>
                    <a:pt x="128" y="39"/>
                    <a:pt x="129" y="42"/>
                    <a:pt x="129" y="47"/>
                  </a:cubicBezTo>
                  <a:lnTo>
                    <a:pt x="105" y="47"/>
                  </a:lnTo>
                  <a:close/>
                  <a:moveTo>
                    <a:pt x="183" y="79"/>
                  </a:moveTo>
                  <a:lnTo>
                    <a:pt x="199" y="79"/>
                  </a:lnTo>
                  <a:lnTo>
                    <a:pt x="207" y="41"/>
                  </a:lnTo>
                  <a:cubicBezTo>
                    <a:pt x="208" y="38"/>
                    <a:pt x="208" y="35"/>
                    <a:pt x="209" y="32"/>
                  </a:cubicBezTo>
                  <a:cubicBezTo>
                    <a:pt x="210" y="30"/>
                    <a:pt x="210" y="27"/>
                    <a:pt x="211" y="24"/>
                  </a:cubicBezTo>
                  <a:lnTo>
                    <a:pt x="211" y="24"/>
                  </a:lnTo>
                  <a:cubicBezTo>
                    <a:pt x="212" y="27"/>
                    <a:pt x="212" y="30"/>
                    <a:pt x="213" y="32"/>
                  </a:cubicBezTo>
                  <a:cubicBezTo>
                    <a:pt x="213" y="35"/>
                    <a:pt x="214" y="38"/>
                    <a:pt x="214" y="41"/>
                  </a:cubicBezTo>
                  <a:lnTo>
                    <a:pt x="223" y="79"/>
                  </a:lnTo>
                  <a:lnTo>
                    <a:pt x="239" y="79"/>
                  </a:lnTo>
                  <a:lnTo>
                    <a:pt x="253" y="7"/>
                  </a:lnTo>
                  <a:lnTo>
                    <a:pt x="241" y="7"/>
                  </a:lnTo>
                  <a:lnTo>
                    <a:pt x="234" y="43"/>
                  </a:lnTo>
                  <a:cubicBezTo>
                    <a:pt x="234" y="47"/>
                    <a:pt x="233" y="51"/>
                    <a:pt x="233" y="54"/>
                  </a:cubicBezTo>
                  <a:cubicBezTo>
                    <a:pt x="232" y="58"/>
                    <a:pt x="231" y="62"/>
                    <a:pt x="231" y="66"/>
                  </a:cubicBezTo>
                  <a:lnTo>
                    <a:pt x="230" y="66"/>
                  </a:lnTo>
                  <a:cubicBezTo>
                    <a:pt x="230" y="62"/>
                    <a:pt x="229" y="58"/>
                    <a:pt x="228" y="54"/>
                  </a:cubicBezTo>
                  <a:cubicBezTo>
                    <a:pt x="227" y="50"/>
                    <a:pt x="226" y="47"/>
                    <a:pt x="226" y="43"/>
                  </a:cubicBezTo>
                  <a:lnTo>
                    <a:pt x="217" y="7"/>
                  </a:lnTo>
                  <a:lnTo>
                    <a:pt x="206" y="7"/>
                  </a:lnTo>
                  <a:lnTo>
                    <a:pt x="197" y="43"/>
                  </a:lnTo>
                  <a:cubicBezTo>
                    <a:pt x="196" y="47"/>
                    <a:pt x="195" y="51"/>
                    <a:pt x="195" y="54"/>
                  </a:cubicBezTo>
                  <a:cubicBezTo>
                    <a:pt x="194" y="58"/>
                    <a:pt x="193" y="62"/>
                    <a:pt x="192" y="66"/>
                  </a:cubicBezTo>
                  <a:lnTo>
                    <a:pt x="192" y="66"/>
                  </a:lnTo>
                  <a:cubicBezTo>
                    <a:pt x="191" y="62"/>
                    <a:pt x="191" y="58"/>
                    <a:pt x="190" y="54"/>
                  </a:cubicBezTo>
                  <a:cubicBezTo>
                    <a:pt x="189" y="51"/>
                    <a:pt x="189" y="47"/>
                    <a:pt x="188" y="43"/>
                  </a:cubicBezTo>
                  <a:lnTo>
                    <a:pt x="182" y="7"/>
                  </a:lnTo>
                  <a:lnTo>
                    <a:pt x="169" y="7"/>
                  </a:lnTo>
                  <a:lnTo>
                    <a:pt x="183" y="79"/>
                  </a:lnTo>
                  <a:close/>
                  <a:moveTo>
                    <a:pt x="264" y="76"/>
                  </a:moveTo>
                  <a:cubicBezTo>
                    <a:pt x="266" y="78"/>
                    <a:pt x="270" y="80"/>
                    <a:pt x="275" y="80"/>
                  </a:cubicBezTo>
                  <a:cubicBezTo>
                    <a:pt x="278" y="80"/>
                    <a:pt x="281" y="79"/>
                    <a:pt x="284" y="78"/>
                  </a:cubicBezTo>
                  <a:cubicBezTo>
                    <a:pt x="287" y="76"/>
                    <a:pt x="289" y="75"/>
                    <a:pt x="292" y="73"/>
                  </a:cubicBezTo>
                  <a:lnTo>
                    <a:pt x="292" y="73"/>
                  </a:lnTo>
                  <a:lnTo>
                    <a:pt x="293" y="79"/>
                  </a:lnTo>
                  <a:lnTo>
                    <a:pt x="304" y="79"/>
                  </a:lnTo>
                  <a:lnTo>
                    <a:pt x="304" y="47"/>
                  </a:lnTo>
                  <a:cubicBezTo>
                    <a:pt x="304" y="39"/>
                    <a:pt x="302" y="33"/>
                    <a:pt x="299" y="29"/>
                  </a:cubicBezTo>
                  <a:cubicBezTo>
                    <a:pt x="295" y="25"/>
                    <a:pt x="290" y="23"/>
                    <a:pt x="283" y="23"/>
                  </a:cubicBezTo>
                  <a:cubicBezTo>
                    <a:pt x="279" y="23"/>
                    <a:pt x="275" y="24"/>
                    <a:pt x="271" y="25"/>
                  </a:cubicBezTo>
                  <a:cubicBezTo>
                    <a:pt x="268" y="27"/>
                    <a:pt x="264" y="28"/>
                    <a:pt x="261" y="30"/>
                  </a:cubicBezTo>
                  <a:lnTo>
                    <a:pt x="266" y="39"/>
                  </a:lnTo>
                  <a:cubicBezTo>
                    <a:pt x="268" y="37"/>
                    <a:pt x="271" y="36"/>
                    <a:pt x="273" y="35"/>
                  </a:cubicBezTo>
                  <a:cubicBezTo>
                    <a:pt x="276" y="34"/>
                    <a:pt x="278" y="33"/>
                    <a:pt x="281" y="33"/>
                  </a:cubicBezTo>
                  <a:cubicBezTo>
                    <a:pt x="283" y="33"/>
                    <a:pt x="284" y="34"/>
                    <a:pt x="286" y="34"/>
                  </a:cubicBezTo>
                  <a:cubicBezTo>
                    <a:pt x="287" y="35"/>
                    <a:pt x="288" y="36"/>
                    <a:pt x="289" y="37"/>
                  </a:cubicBezTo>
                  <a:cubicBezTo>
                    <a:pt x="289" y="38"/>
                    <a:pt x="290" y="39"/>
                    <a:pt x="290" y="40"/>
                  </a:cubicBezTo>
                  <a:cubicBezTo>
                    <a:pt x="291" y="41"/>
                    <a:pt x="291" y="43"/>
                    <a:pt x="291" y="44"/>
                  </a:cubicBezTo>
                  <a:cubicBezTo>
                    <a:pt x="280" y="45"/>
                    <a:pt x="272" y="47"/>
                    <a:pt x="267" y="51"/>
                  </a:cubicBezTo>
                  <a:cubicBezTo>
                    <a:pt x="262" y="54"/>
                    <a:pt x="259" y="58"/>
                    <a:pt x="259" y="64"/>
                  </a:cubicBezTo>
                  <a:cubicBezTo>
                    <a:pt x="259" y="69"/>
                    <a:pt x="261" y="73"/>
                    <a:pt x="264" y="76"/>
                  </a:cubicBezTo>
                  <a:moveTo>
                    <a:pt x="272" y="59"/>
                  </a:moveTo>
                  <a:cubicBezTo>
                    <a:pt x="273" y="58"/>
                    <a:pt x="274" y="57"/>
                    <a:pt x="276" y="56"/>
                  </a:cubicBezTo>
                  <a:cubicBezTo>
                    <a:pt x="277" y="55"/>
                    <a:pt x="279" y="54"/>
                    <a:pt x="282" y="54"/>
                  </a:cubicBezTo>
                  <a:cubicBezTo>
                    <a:pt x="284" y="53"/>
                    <a:pt x="287" y="52"/>
                    <a:pt x="291" y="52"/>
                  </a:cubicBezTo>
                  <a:lnTo>
                    <a:pt x="291" y="64"/>
                  </a:lnTo>
                  <a:cubicBezTo>
                    <a:pt x="289" y="66"/>
                    <a:pt x="287" y="67"/>
                    <a:pt x="285" y="68"/>
                  </a:cubicBezTo>
                  <a:cubicBezTo>
                    <a:pt x="283" y="69"/>
                    <a:pt x="281" y="70"/>
                    <a:pt x="279" y="70"/>
                  </a:cubicBezTo>
                  <a:cubicBezTo>
                    <a:pt x="277" y="70"/>
                    <a:pt x="275" y="69"/>
                    <a:pt x="274" y="68"/>
                  </a:cubicBezTo>
                  <a:cubicBezTo>
                    <a:pt x="272" y="67"/>
                    <a:pt x="271" y="65"/>
                    <a:pt x="271" y="63"/>
                  </a:cubicBezTo>
                  <a:cubicBezTo>
                    <a:pt x="271" y="62"/>
                    <a:pt x="272" y="60"/>
                    <a:pt x="272" y="59"/>
                  </a:cubicBezTo>
                  <a:moveTo>
                    <a:pt x="314" y="72"/>
                  </a:moveTo>
                  <a:cubicBezTo>
                    <a:pt x="316" y="75"/>
                    <a:pt x="319" y="76"/>
                    <a:pt x="323" y="78"/>
                  </a:cubicBezTo>
                  <a:cubicBezTo>
                    <a:pt x="327" y="79"/>
                    <a:pt x="330" y="80"/>
                    <a:pt x="334" y="80"/>
                  </a:cubicBezTo>
                  <a:cubicBezTo>
                    <a:pt x="337" y="80"/>
                    <a:pt x="340" y="79"/>
                    <a:pt x="343" y="79"/>
                  </a:cubicBezTo>
                  <a:cubicBezTo>
                    <a:pt x="346" y="78"/>
                    <a:pt x="348" y="77"/>
                    <a:pt x="350" y="75"/>
                  </a:cubicBezTo>
                  <a:cubicBezTo>
                    <a:pt x="351" y="73"/>
                    <a:pt x="353" y="72"/>
                    <a:pt x="354" y="70"/>
                  </a:cubicBezTo>
                  <a:cubicBezTo>
                    <a:pt x="355" y="68"/>
                    <a:pt x="355" y="66"/>
                    <a:pt x="355" y="63"/>
                  </a:cubicBezTo>
                  <a:cubicBezTo>
                    <a:pt x="355" y="61"/>
                    <a:pt x="355" y="59"/>
                    <a:pt x="354" y="57"/>
                  </a:cubicBezTo>
                  <a:cubicBezTo>
                    <a:pt x="353" y="55"/>
                    <a:pt x="352" y="53"/>
                    <a:pt x="350" y="52"/>
                  </a:cubicBezTo>
                  <a:cubicBezTo>
                    <a:pt x="349" y="51"/>
                    <a:pt x="347" y="50"/>
                    <a:pt x="345" y="49"/>
                  </a:cubicBezTo>
                  <a:cubicBezTo>
                    <a:pt x="343" y="48"/>
                    <a:pt x="341" y="47"/>
                    <a:pt x="340" y="47"/>
                  </a:cubicBezTo>
                  <a:cubicBezTo>
                    <a:pt x="338" y="46"/>
                    <a:pt x="337" y="46"/>
                    <a:pt x="335" y="45"/>
                  </a:cubicBezTo>
                  <a:cubicBezTo>
                    <a:pt x="334" y="45"/>
                    <a:pt x="333" y="44"/>
                    <a:pt x="332" y="44"/>
                  </a:cubicBezTo>
                  <a:cubicBezTo>
                    <a:pt x="331" y="43"/>
                    <a:pt x="330" y="42"/>
                    <a:pt x="329" y="42"/>
                  </a:cubicBezTo>
                  <a:cubicBezTo>
                    <a:pt x="329" y="41"/>
                    <a:pt x="328" y="40"/>
                    <a:pt x="328" y="39"/>
                  </a:cubicBezTo>
                  <a:cubicBezTo>
                    <a:pt x="328" y="37"/>
                    <a:pt x="329" y="36"/>
                    <a:pt x="330" y="34"/>
                  </a:cubicBezTo>
                  <a:cubicBezTo>
                    <a:pt x="331" y="33"/>
                    <a:pt x="333" y="33"/>
                    <a:pt x="336" y="33"/>
                  </a:cubicBezTo>
                  <a:cubicBezTo>
                    <a:pt x="338" y="33"/>
                    <a:pt x="340" y="33"/>
                    <a:pt x="342" y="34"/>
                  </a:cubicBezTo>
                  <a:cubicBezTo>
                    <a:pt x="344" y="35"/>
                    <a:pt x="346" y="36"/>
                    <a:pt x="348" y="37"/>
                  </a:cubicBezTo>
                  <a:lnTo>
                    <a:pt x="354" y="30"/>
                  </a:lnTo>
                  <a:cubicBezTo>
                    <a:pt x="352" y="28"/>
                    <a:pt x="349" y="27"/>
                    <a:pt x="346" y="25"/>
                  </a:cubicBezTo>
                  <a:cubicBezTo>
                    <a:pt x="343" y="24"/>
                    <a:pt x="340" y="23"/>
                    <a:pt x="336" y="23"/>
                  </a:cubicBezTo>
                  <a:cubicBezTo>
                    <a:pt x="330" y="23"/>
                    <a:pt x="325" y="25"/>
                    <a:pt x="322" y="28"/>
                  </a:cubicBezTo>
                  <a:cubicBezTo>
                    <a:pt x="318" y="31"/>
                    <a:pt x="316" y="35"/>
                    <a:pt x="316" y="39"/>
                  </a:cubicBezTo>
                  <a:cubicBezTo>
                    <a:pt x="316" y="42"/>
                    <a:pt x="317" y="44"/>
                    <a:pt x="318" y="45"/>
                  </a:cubicBezTo>
                  <a:cubicBezTo>
                    <a:pt x="319" y="47"/>
                    <a:pt x="320" y="48"/>
                    <a:pt x="321" y="50"/>
                  </a:cubicBezTo>
                  <a:cubicBezTo>
                    <a:pt x="323" y="51"/>
                    <a:pt x="324" y="52"/>
                    <a:pt x="326" y="53"/>
                  </a:cubicBezTo>
                  <a:cubicBezTo>
                    <a:pt x="328" y="54"/>
                    <a:pt x="330" y="54"/>
                    <a:pt x="331" y="55"/>
                  </a:cubicBezTo>
                  <a:cubicBezTo>
                    <a:pt x="333" y="56"/>
                    <a:pt x="334" y="56"/>
                    <a:pt x="336" y="57"/>
                  </a:cubicBezTo>
                  <a:cubicBezTo>
                    <a:pt x="337" y="57"/>
                    <a:pt x="338" y="58"/>
                    <a:pt x="339" y="59"/>
                  </a:cubicBezTo>
                  <a:cubicBezTo>
                    <a:pt x="340" y="59"/>
                    <a:pt x="341" y="60"/>
                    <a:pt x="342" y="61"/>
                  </a:cubicBezTo>
                  <a:cubicBezTo>
                    <a:pt x="343" y="62"/>
                    <a:pt x="343" y="63"/>
                    <a:pt x="343" y="64"/>
                  </a:cubicBezTo>
                  <a:cubicBezTo>
                    <a:pt x="343" y="66"/>
                    <a:pt x="342" y="67"/>
                    <a:pt x="341" y="69"/>
                  </a:cubicBezTo>
                  <a:cubicBezTo>
                    <a:pt x="340" y="70"/>
                    <a:pt x="337" y="70"/>
                    <a:pt x="334" y="70"/>
                  </a:cubicBezTo>
                  <a:cubicBezTo>
                    <a:pt x="332" y="70"/>
                    <a:pt x="329" y="70"/>
                    <a:pt x="327" y="69"/>
                  </a:cubicBezTo>
                  <a:cubicBezTo>
                    <a:pt x="324" y="68"/>
                    <a:pt x="322" y="66"/>
                    <a:pt x="319" y="64"/>
                  </a:cubicBezTo>
                  <a:lnTo>
                    <a:pt x="314" y="72"/>
                  </a:lnTo>
                  <a:close/>
                  <a:moveTo>
                    <a:pt x="361" y="72"/>
                  </a:moveTo>
                  <a:cubicBezTo>
                    <a:pt x="364" y="75"/>
                    <a:pt x="367" y="76"/>
                    <a:pt x="370" y="78"/>
                  </a:cubicBezTo>
                  <a:cubicBezTo>
                    <a:pt x="374" y="79"/>
                    <a:pt x="378" y="80"/>
                    <a:pt x="381" y="80"/>
                  </a:cubicBezTo>
                  <a:cubicBezTo>
                    <a:pt x="385" y="80"/>
                    <a:pt x="388" y="79"/>
                    <a:pt x="390" y="79"/>
                  </a:cubicBezTo>
                  <a:cubicBezTo>
                    <a:pt x="393" y="78"/>
                    <a:pt x="395" y="77"/>
                    <a:pt x="397" y="75"/>
                  </a:cubicBezTo>
                  <a:cubicBezTo>
                    <a:pt x="399" y="73"/>
                    <a:pt x="400" y="72"/>
                    <a:pt x="401" y="70"/>
                  </a:cubicBezTo>
                  <a:cubicBezTo>
                    <a:pt x="402" y="68"/>
                    <a:pt x="402" y="66"/>
                    <a:pt x="402" y="63"/>
                  </a:cubicBezTo>
                  <a:cubicBezTo>
                    <a:pt x="402" y="61"/>
                    <a:pt x="402" y="59"/>
                    <a:pt x="401" y="57"/>
                  </a:cubicBezTo>
                  <a:cubicBezTo>
                    <a:pt x="400" y="55"/>
                    <a:pt x="399" y="53"/>
                    <a:pt x="397" y="52"/>
                  </a:cubicBezTo>
                  <a:cubicBezTo>
                    <a:pt x="396" y="51"/>
                    <a:pt x="394" y="50"/>
                    <a:pt x="392" y="49"/>
                  </a:cubicBezTo>
                  <a:cubicBezTo>
                    <a:pt x="391" y="48"/>
                    <a:pt x="389" y="47"/>
                    <a:pt x="387" y="47"/>
                  </a:cubicBezTo>
                  <a:cubicBezTo>
                    <a:pt x="385" y="46"/>
                    <a:pt x="384" y="46"/>
                    <a:pt x="383" y="45"/>
                  </a:cubicBezTo>
                  <a:cubicBezTo>
                    <a:pt x="381" y="45"/>
                    <a:pt x="380" y="44"/>
                    <a:pt x="379" y="44"/>
                  </a:cubicBezTo>
                  <a:cubicBezTo>
                    <a:pt x="378" y="43"/>
                    <a:pt x="377" y="42"/>
                    <a:pt x="377" y="42"/>
                  </a:cubicBezTo>
                  <a:cubicBezTo>
                    <a:pt x="376" y="41"/>
                    <a:pt x="376" y="40"/>
                    <a:pt x="376" y="39"/>
                  </a:cubicBezTo>
                  <a:cubicBezTo>
                    <a:pt x="376" y="37"/>
                    <a:pt x="376" y="36"/>
                    <a:pt x="378" y="34"/>
                  </a:cubicBezTo>
                  <a:cubicBezTo>
                    <a:pt x="379" y="33"/>
                    <a:pt x="381" y="33"/>
                    <a:pt x="384" y="33"/>
                  </a:cubicBezTo>
                  <a:cubicBezTo>
                    <a:pt x="386" y="33"/>
                    <a:pt x="388" y="33"/>
                    <a:pt x="390" y="34"/>
                  </a:cubicBezTo>
                  <a:cubicBezTo>
                    <a:pt x="392" y="35"/>
                    <a:pt x="394" y="36"/>
                    <a:pt x="396" y="37"/>
                  </a:cubicBezTo>
                  <a:lnTo>
                    <a:pt x="401" y="30"/>
                  </a:lnTo>
                  <a:cubicBezTo>
                    <a:pt x="399" y="28"/>
                    <a:pt x="397" y="27"/>
                    <a:pt x="394" y="25"/>
                  </a:cubicBezTo>
                  <a:cubicBezTo>
                    <a:pt x="391" y="24"/>
                    <a:pt x="387" y="23"/>
                    <a:pt x="383" y="23"/>
                  </a:cubicBezTo>
                  <a:cubicBezTo>
                    <a:pt x="377" y="23"/>
                    <a:pt x="373" y="25"/>
                    <a:pt x="369" y="28"/>
                  </a:cubicBezTo>
                  <a:cubicBezTo>
                    <a:pt x="365" y="31"/>
                    <a:pt x="364" y="35"/>
                    <a:pt x="364" y="39"/>
                  </a:cubicBezTo>
                  <a:cubicBezTo>
                    <a:pt x="364" y="42"/>
                    <a:pt x="364" y="44"/>
                    <a:pt x="365" y="45"/>
                  </a:cubicBezTo>
                  <a:cubicBezTo>
                    <a:pt x="366" y="47"/>
                    <a:pt x="367" y="48"/>
                    <a:pt x="369" y="50"/>
                  </a:cubicBezTo>
                  <a:cubicBezTo>
                    <a:pt x="370" y="51"/>
                    <a:pt x="372" y="52"/>
                    <a:pt x="374" y="53"/>
                  </a:cubicBezTo>
                  <a:cubicBezTo>
                    <a:pt x="375" y="54"/>
                    <a:pt x="377" y="54"/>
                    <a:pt x="379" y="55"/>
                  </a:cubicBezTo>
                  <a:cubicBezTo>
                    <a:pt x="380" y="56"/>
                    <a:pt x="382" y="56"/>
                    <a:pt x="383" y="57"/>
                  </a:cubicBezTo>
                  <a:cubicBezTo>
                    <a:pt x="384" y="57"/>
                    <a:pt x="386" y="58"/>
                    <a:pt x="387" y="59"/>
                  </a:cubicBezTo>
                  <a:cubicBezTo>
                    <a:pt x="388" y="59"/>
                    <a:pt x="389" y="60"/>
                    <a:pt x="389" y="61"/>
                  </a:cubicBezTo>
                  <a:cubicBezTo>
                    <a:pt x="390" y="62"/>
                    <a:pt x="390" y="63"/>
                    <a:pt x="390" y="64"/>
                  </a:cubicBezTo>
                  <a:cubicBezTo>
                    <a:pt x="390" y="66"/>
                    <a:pt x="390" y="67"/>
                    <a:pt x="388" y="69"/>
                  </a:cubicBezTo>
                  <a:cubicBezTo>
                    <a:pt x="387" y="70"/>
                    <a:pt x="385" y="70"/>
                    <a:pt x="382" y="70"/>
                  </a:cubicBezTo>
                  <a:cubicBezTo>
                    <a:pt x="379" y="70"/>
                    <a:pt x="376" y="70"/>
                    <a:pt x="374" y="69"/>
                  </a:cubicBezTo>
                  <a:cubicBezTo>
                    <a:pt x="372" y="68"/>
                    <a:pt x="369" y="66"/>
                    <a:pt x="367" y="64"/>
                  </a:cubicBezTo>
                  <a:lnTo>
                    <a:pt x="361" y="72"/>
                  </a:lnTo>
                  <a:close/>
                  <a:moveTo>
                    <a:pt x="412" y="64"/>
                  </a:moveTo>
                  <a:cubicBezTo>
                    <a:pt x="414" y="67"/>
                    <a:pt x="416" y="70"/>
                    <a:pt x="418" y="72"/>
                  </a:cubicBezTo>
                  <a:cubicBezTo>
                    <a:pt x="420" y="75"/>
                    <a:pt x="423" y="77"/>
                    <a:pt x="426" y="78"/>
                  </a:cubicBezTo>
                  <a:cubicBezTo>
                    <a:pt x="430" y="79"/>
                    <a:pt x="433" y="80"/>
                    <a:pt x="437" y="80"/>
                  </a:cubicBezTo>
                  <a:cubicBezTo>
                    <a:pt x="440" y="80"/>
                    <a:pt x="444" y="79"/>
                    <a:pt x="447" y="78"/>
                  </a:cubicBezTo>
                  <a:cubicBezTo>
                    <a:pt x="450" y="77"/>
                    <a:pt x="453" y="76"/>
                    <a:pt x="455" y="74"/>
                  </a:cubicBezTo>
                  <a:lnTo>
                    <a:pt x="451" y="66"/>
                  </a:lnTo>
                  <a:cubicBezTo>
                    <a:pt x="449" y="67"/>
                    <a:pt x="447" y="68"/>
                    <a:pt x="445" y="69"/>
                  </a:cubicBezTo>
                  <a:cubicBezTo>
                    <a:pt x="443" y="70"/>
                    <a:pt x="441" y="70"/>
                    <a:pt x="439" y="70"/>
                  </a:cubicBezTo>
                  <a:cubicBezTo>
                    <a:pt x="434" y="70"/>
                    <a:pt x="431" y="69"/>
                    <a:pt x="428" y="66"/>
                  </a:cubicBezTo>
                  <a:cubicBezTo>
                    <a:pt x="425" y="63"/>
                    <a:pt x="423" y="60"/>
                    <a:pt x="423" y="55"/>
                  </a:cubicBezTo>
                  <a:lnTo>
                    <a:pt x="457" y="55"/>
                  </a:lnTo>
                  <a:cubicBezTo>
                    <a:pt x="457" y="53"/>
                    <a:pt x="457" y="51"/>
                    <a:pt x="457" y="49"/>
                  </a:cubicBezTo>
                  <a:cubicBezTo>
                    <a:pt x="457" y="45"/>
                    <a:pt x="457" y="42"/>
                    <a:pt x="456" y="39"/>
                  </a:cubicBezTo>
                  <a:cubicBezTo>
                    <a:pt x="455" y="35"/>
                    <a:pt x="454" y="33"/>
                    <a:pt x="452" y="30"/>
                  </a:cubicBezTo>
                  <a:cubicBezTo>
                    <a:pt x="450" y="28"/>
                    <a:pt x="448" y="26"/>
                    <a:pt x="445" y="25"/>
                  </a:cubicBezTo>
                  <a:cubicBezTo>
                    <a:pt x="442" y="24"/>
                    <a:pt x="439" y="23"/>
                    <a:pt x="435" y="23"/>
                  </a:cubicBezTo>
                  <a:cubicBezTo>
                    <a:pt x="432" y="23"/>
                    <a:pt x="429" y="24"/>
                    <a:pt x="426" y="25"/>
                  </a:cubicBezTo>
                  <a:cubicBezTo>
                    <a:pt x="423" y="27"/>
                    <a:pt x="420" y="28"/>
                    <a:pt x="418" y="31"/>
                  </a:cubicBezTo>
                  <a:cubicBezTo>
                    <a:pt x="416" y="33"/>
                    <a:pt x="414" y="36"/>
                    <a:pt x="412" y="40"/>
                  </a:cubicBezTo>
                  <a:cubicBezTo>
                    <a:pt x="411" y="43"/>
                    <a:pt x="410" y="47"/>
                    <a:pt x="410" y="52"/>
                  </a:cubicBezTo>
                  <a:cubicBezTo>
                    <a:pt x="410" y="56"/>
                    <a:pt x="411" y="60"/>
                    <a:pt x="412" y="64"/>
                  </a:cubicBezTo>
                  <a:moveTo>
                    <a:pt x="422" y="47"/>
                  </a:moveTo>
                  <a:cubicBezTo>
                    <a:pt x="423" y="42"/>
                    <a:pt x="425" y="39"/>
                    <a:pt x="427" y="36"/>
                  </a:cubicBezTo>
                  <a:cubicBezTo>
                    <a:pt x="429" y="34"/>
                    <a:pt x="432" y="33"/>
                    <a:pt x="435" y="33"/>
                  </a:cubicBezTo>
                  <a:cubicBezTo>
                    <a:pt x="439" y="33"/>
                    <a:pt x="442" y="34"/>
                    <a:pt x="444" y="37"/>
                  </a:cubicBezTo>
                  <a:cubicBezTo>
                    <a:pt x="446" y="39"/>
                    <a:pt x="446" y="42"/>
                    <a:pt x="446" y="47"/>
                  </a:cubicBezTo>
                  <a:lnTo>
                    <a:pt x="422" y="47"/>
                  </a:lnTo>
                  <a:close/>
                  <a:moveTo>
                    <a:pt x="470" y="79"/>
                  </a:moveTo>
                  <a:lnTo>
                    <a:pt x="482" y="79"/>
                  </a:lnTo>
                  <a:lnTo>
                    <a:pt x="482" y="46"/>
                  </a:lnTo>
                  <a:cubicBezTo>
                    <a:pt x="484" y="41"/>
                    <a:pt x="486" y="39"/>
                    <a:pt x="488" y="37"/>
                  </a:cubicBezTo>
                  <a:cubicBezTo>
                    <a:pt x="491" y="35"/>
                    <a:pt x="493" y="34"/>
                    <a:pt x="495" y="34"/>
                  </a:cubicBezTo>
                  <a:cubicBezTo>
                    <a:pt x="496" y="34"/>
                    <a:pt x="497" y="35"/>
                    <a:pt x="498" y="35"/>
                  </a:cubicBezTo>
                  <a:cubicBezTo>
                    <a:pt x="499" y="35"/>
                    <a:pt x="500" y="35"/>
                    <a:pt x="501" y="35"/>
                  </a:cubicBezTo>
                  <a:lnTo>
                    <a:pt x="503" y="24"/>
                  </a:lnTo>
                  <a:cubicBezTo>
                    <a:pt x="501" y="24"/>
                    <a:pt x="499" y="23"/>
                    <a:pt x="497" y="23"/>
                  </a:cubicBezTo>
                  <a:cubicBezTo>
                    <a:pt x="494" y="23"/>
                    <a:pt x="491" y="24"/>
                    <a:pt x="488" y="26"/>
                  </a:cubicBezTo>
                  <a:cubicBezTo>
                    <a:pt x="486" y="28"/>
                    <a:pt x="483" y="31"/>
                    <a:pt x="481" y="34"/>
                  </a:cubicBezTo>
                  <a:lnTo>
                    <a:pt x="481" y="34"/>
                  </a:lnTo>
                  <a:lnTo>
                    <a:pt x="480" y="25"/>
                  </a:lnTo>
                  <a:lnTo>
                    <a:pt x="470" y="25"/>
                  </a:lnTo>
                  <a:lnTo>
                    <a:pt x="470" y="79"/>
                  </a:lnTo>
                  <a:close/>
                  <a:moveTo>
                    <a:pt x="520" y="79"/>
                  </a:moveTo>
                  <a:lnTo>
                    <a:pt x="535" y="79"/>
                  </a:lnTo>
                  <a:lnTo>
                    <a:pt x="541" y="53"/>
                  </a:lnTo>
                  <a:cubicBezTo>
                    <a:pt x="542" y="51"/>
                    <a:pt x="542" y="48"/>
                    <a:pt x="543" y="46"/>
                  </a:cubicBezTo>
                  <a:cubicBezTo>
                    <a:pt x="543" y="43"/>
                    <a:pt x="544" y="41"/>
                    <a:pt x="544" y="38"/>
                  </a:cubicBezTo>
                  <a:lnTo>
                    <a:pt x="545" y="38"/>
                  </a:lnTo>
                  <a:cubicBezTo>
                    <a:pt x="545" y="41"/>
                    <a:pt x="546" y="43"/>
                    <a:pt x="546" y="46"/>
                  </a:cubicBezTo>
                  <a:cubicBezTo>
                    <a:pt x="547" y="48"/>
                    <a:pt x="547" y="51"/>
                    <a:pt x="548" y="53"/>
                  </a:cubicBezTo>
                  <a:lnTo>
                    <a:pt x="554" y="79"/>
                  </a:lnTo>
                  <a:lnTo>
                    <a:pt x="569" y="79"/>
                  </a:lnTo>
                  <a:lnTo>
                    <a:pt x="583" y="25"/>
                  </a:lnTo>
                  <a:lnTo>
                    <a:pt x="571" y="25"/>
                  </a:lnTo>
                  <a:lnTo>
                    <a:pt x="565" y="53"/>
                  </a:lnTo>
                  <a:cubicBezTo>
                    <a:pt x="564" y="55"/>
                    <a:pt x="564" y="58"/>
                    <a:pt x="563" y="60"/>
                  </a:cubicBezTo>
                  <a:cubicBezTo>
                    <a:pt x="563" y="63"/>
                    <a:pt x="562" y="65"/>
                    <a:pt x="562" y="68"/>
                  </a:cubicBezTo>
                  <a:lnTo>
                    <a:pt x="561" y="68"/>
                  </a:lnTo>
                  <a:cubicBezTo>
                    <a:pt x="561" y="65"/>
                    <a:pt x="560" y="63"/>
                    <a:pt x="560" y="60"/>
                  </a:cubicBezTo>
                  <a:cubicBezTo>
                    <a:pt x="559" y="58"/>
                    <a:pt x="558" y="55"/>
                    <a:pt x="558" y="53"/>
                  </a:cubicBezTo>
                  <a:lnTo>
                    <a:pt x="551" y="25"/>
                  </a:lnTo>
                  <a:lnTo>
                    <a:pt x="539" y="25"/>
                  </a:lnTo>
                  <a:lnTo>
                    <a:pt x="532" y="53"/>
                  </a:lnTo>
                  <a:cubicBezTo>
                    <a:pt x="531" y="55"/>
                    <a:pt x="531" y="58"/>
                    <a:pt x="530" y="60"/>
                  </a:cubicBezTo>
                  <a:cubicBezTo>
                    <a:pt x="530" y="63"/>
                    <a:pt x="529" y="65"/>
                    <a:pt x="529" y="68"/>
                  </a:cubicBezTo>
                  <a:lnTo>
                    <a:pt x="528" y="68"/>
                  </a:lnTo>
                  <a:cubicBezTo>
                    <a:pt x="528" y="65"/>
                    <a:pt x="527" y="63"/>
                    <a:pt x="527" y="60"/>
                  </a:cubicBezTo>
                  <a:cubicBezTo>
                    <a:pt x="526" y="58"/>
                    <a:pt x="526" y="55"/>
                    <a:pt x="525" y="53"/>
                  </a:cubicBezTo>
                  <a:lnTo>
                    <a:pt x="519" y="25"/>
                  </a:lnTo>
                  <a:lnTo>
                    <a:pt x="506" y="25"/>
                  </a:lnTo>
                  <a:lnTo>
                    <a:pt x="520" y="79"/>
                  </a:lnTo>
                  <a:close/>
                  <a:moveTo>
                    <a:pt x="606" y="13"/>
                  </a:moveTo>
                  <a:cubicBezTo>
                    <a:pt x="607" y="12"/>
                    <a:pt x="608" y="10"/>
                    <a:pt x="608" y="8"/>
                  </a:cubicBezTo>
                  <a:cubicBezTo>
                    <a:pt x="608" y="6"/>
                    <a:pt x="607" y="4"/>
                    <a:pt x="606" y="3"/>
                  </a:cubicBezTo>
                  <a:cubicBezTo>
                    <a:pt x="604" y="1"/>
                    <a:pt x="602" y="1"/>
                    <a:pt x="600" y="1"/>
                  </a:cubicBezTo>
                  <a:cubicBezTo>
                    <a:pt x="598" y="1"/>
                    <a:pt x="596" y="1"/>
                    <a:pt x="595" y="3"/>
                  </a:cubicBezTo>
                  <a:cubicBezTo>
                    <a:pt x="593" y="4"/>
                    <a:pt x="592" y="6"/>
                    <a:pt x="592" y="8"/>
                  </a:cubicBezTo>
                  <a:cubicBezTo>
                    <a:pt x="592" y="10"/>
                    <a:pt x="593" y="12"/>
                    <a:pt x="595" y="13"/>
                  </a:cubicBezTo>
                  <a:cubicBezTo>
                    <a:pt x="596" y="14"/>
                    <a:pt x="598" y="15"/>
                    <a:pt x="600" y="15"/>
                  </a:cubicBezTo>
                  <a:cubicBezTo>
                    <a:pt x="602" y="15"/>
                    <a:pt x="604" y="14"/>
                    <a:pt x="606" y="13"/>
                  </a:cubicBezTo>
                  <a:close/>
                  <a:moveTo>
                    <a:pt x="594" y="79"/>
                  </a:moveTo>
                  <a:lnTo>
                    <a:pt x="606" y="79"/>
                  </a:lnTo>
                  <a:lnTo>
                    <a:pt x="606" y="25"/>
                  </a:lnTo>
                  <a:lnTo>
                    <a:pt x="594" y="25"/>
                  </a:lnTo>
                  <a:lnTo>
                    <a:pt x="594" y="79"/>
                  </a:lnTo>
                  <a:close/>
                  <a:moveTo>
                    <a:pt x="623" y="79"/>
                  </a:moveTo>
                  <a:lnTo>
                    <a:pt x="635" y="79"/>
                  </a:lnTo>
                  <a:lnTo>
                    <a:pt x="635" y="46"/>
                  </a:lnTo>
                  <a:cubicBezTo>
                    <a:pt x="637" y="41"/>
                    <a:pt x="639" y="39"/>
                    <a:pt x="641" y="37"/>
                  </a:cubicBezTo>
                  <a:cubicBezTo>
                    <a:pt x="644" y="35"/>
                    <a:pt x="646" y="34"/>
                    <a:pt x="648" y="34"/>
                  </a:cubicBezTo>
                  <a:cubicBezTo>
                    <a:pt x="649" y="34"/>
                    <a:pt x="650" y="35"/>
                    <a:pt x="651" y="35"/>
                  </a:cubicBezTo>
                  <a:cubicBezTo>
                    <a:pt x="652" y="35"/>
                    <a:pt x="653" y="35"/>
                    <a:pt x="654" y="35"/>
                  </a:cubicBezTo>
                  <a:lnTo>
                    <a:pt x="656" y="24"/>
                  </a:lnTo>
                  <a:cubicBezTo>
                    <a:pt x="654" y="24"/>
                    <a:pt x="652" y="23"/>
                    <a:pt x="650" y="23"/>
                  </a:cubicBezTo>
                  <a:cubicBezTo>
                    <a:pt x="647" y="23"/>
                    <a:pt x="644" y="24"/>
                    <a:pt x="641" y="26"/>
                  </a:cubicBezTo>
                  <a:cubicBezTo>
                    <a:pt x="639" y="28"/>
                    <a:pt x="636" y="31"/>
                    <a:pt x="634" y="34"/>
                  </a:cubicBezTo>
                  <a:lnTo>
                    <a:pt x="634" y="34"/>
                  </a:lnTo>
                  <a:lnTo>
                    <a:pt x="633" y="25"/>
                  </a:lnTo>
                  <a:lnTo>
                    <a:pt x="623" y="25"/>
                  </a:lnTo>
                  <a:lnTo>
                    <a:pt x="623" y="79"/>
                  </a:lnTo>
                  <a:close/>
                  <a:moveTo>
                    <a:pt x="666" y="60"/>
                  </a:moveTo>
                  <a:cubicBezTo>
                    <a:pt x="666" y="63"/>
                    <a:pt x="666" y="66"/>
                    <a:pt x="666" y="68"/>
                  </a:cubicBezTo>
                  <a:cubicBezTo>
                    <a:pt x="667" y="71"/>
                    <a:pt x="668" y="73"/>
                    <a:pt x="669" y="74"/>
                  </a:cubicBezTo>
                  <a:cubicBezTo>
                    <a:pt x="671" y="76"/>
                    <a:pt x="673" y="78"/>
                    <a:pt x="675" y="78"/>
                  </a:cubicBezTo>
                  <a:cubicBezTo>
                    <a:pt x="677" y="79"/>
                    <a:pt x="680" y="80"/>
                    <a:pt x="683" y="80"/>
                  </a:cubicBezTo>
                  <a:cubicBezTo>
                    <a:pt x="685" y="80"/>
                    <a:pt x="687" y="80"/>
                    <a:pt x="689" y="79"/>
                  </a:cubicBezTo>
                  <a:cubicBezTo>
                    <a:pt x="691" y="79"/>
                    <a:pt x="692" y="78"/>
                    <a:pt x="694" y="78"/>
                  </a:cubicBezTo>
                  <a:lnTo>
                    <a:pt x="692" y="69"/>
                  </a:lnTo>
                  <a:cubicBezTo>
                    <a:pt x="691" y="69"/>
                    <a:pt x="690" y="69"/>
                    <a:pt x="689" y="69"/>
                  </a:cubicBezTo>
                  <a:cubicBezTo>
                    <a:pt x="688" y="70"/>
                    <a:pt x="687" y="70"/>
                    <a:pt x="686" y="70"/>
                  </a:cubicBezTo>
                  <a:cubicBezTo>
                    <a:pt x="681" y="70"/>
                    <a:pt x="678" y="67"/>
                    <a:pt x="678" y="60"/>
                  </a:cubicBezTo>
                  <a:lnTo>
                    <a:pt x="678" y="35"/>
                  </a:lnTo>
                  <a:lnTo>
                    <a:pt x="692" y="35"/>
                  </a:lnTo>
                  <a:lnTo>
                    <a:pt x="692" y="25"/>
                  </a:lnTo>
                  <a:lnTo>
                    <a:pt x="678" y="25"/>
                  </a:lnTo>
                  <a:lnTo>
                    <a:pt x="678" y="10"/>
                  </a:lnTo>
                  <a:lnTo>
                    <a:pt x="668" y="10"/>
                  </a:lnTo>
                  <a:lnTo>
                    <a:pt x="666" y="25"/>
                  </a:lnTo>
                  <a:lnTo>
                    <a:pt x="658" y="25"/>
                  </a:lnTo>
                  <a:lnTo>
                    <a:pt x="658" y="35"/>
                  </a:lnTo>
                  <a:lnTo>
                    <a:pt x="666" y="35"/>
                  </a:lnTo>
                  <a:lnTo>
                    <a:pt x="666" y="60"/>
                  </a:lnTo>
                  <a:close/>
                  <a:moveTo>
                    <a:pt x="698" y="72"/>
                  </a:moveTo>
                  <a:cubicBezTo>
                    <a:pt x="701" y="75"/>
                    <a:pt x="704" y="76"/>
                    <a:pt x="707" y="78"/>
                  </a:cubicBezTo>
                  <a:cubicBezTo>
                    <a:pt x="711" y="79"/>
                    <a:pt x="715" y="80"/>
                    <a:pt x="718" y="80"/>
                  </a:cubicBezTo>
                  <a:cubicBezTo>
                    <a:pt x="722" y="80"/>
                    <a:pt x="725" y="79"/>
                    <a:pt x="728" y="79"/>
                  </a:cubicBezTo>
                  <a:cubicBezTo>
                    <a:pt x="730" y="78"/>
                    <a:pt x="732" y="77"/>
                    <a:pt x="734" y="75"/>
                  </a:cubicBezTo>
                  <a:cubicBezTo>
                    <a:pt x="736" y="73"/>
                    <a:pt x="737" y="72"/>
                    <a:pt x="738" y="70"/>
                  </a:cubicBezTo>
                  <a:cubicBezTo>
                    <a:pt x="739" y="68"/>
                    <a:pt x="740" y="66"/>
                    <a:pt x="740" y="63"/>
                  </a:cubicBezTo>
                  <a:cubicBezTo>
                    <a:pt x="740" y="61"/>
                    <a:pt x="739" y="59"/>
                    <a:pt x="738" y="57"/>
                  </a:cubicBezTo>
                  <a:cubicBezTo>
                    <a:pt x="737" y="55"/>
                    <a:pt x="736" y="53"/>
                    <a:pt x="735" y="52"/>
                  </a:cubicBezTo>
                  <a:cubicBezTo>
                    <a:pt x="733" y="51"/>
                    <a:pt x="731" y="50"/>
                    <a:pt x="730" y="49"/>
                  </a:cubicBezTo>
                  <a:cubicBezTo>
                    <a:pt x="728" y="48"/>
                    <a:pt x="726" y="47"/>
                    <a:pt x="724" y="47"/>
                  </a:cubicBezTo>
                  <a:cubicBezTo>
                    <a:pt x="723" y="46"/>
                    <a:pt x="721" y="46"/>
                    <a:pt x="720" y="45"/>
                  </a:cubicBezTo>
                  <a:cubicBezTo>
                    <a:pt x="718" y="45"/>
                    <a:pt x="717" y="44"/>
                    <a:pt x="716" y="44"/>
                  </a:cubicBezTo>
                  <a:cubicBezTo>
                    <a:pt x="715" y="43"/>
                    <a:pt x="714" y="42"/>
                    <a:pt x="714" y="42"/>
                  </a:cubicBezTo>
                  <a:cubicBezTo>
                    <a:pt x="713" y="41"/>
                    <a:pt x="713" y="40"/>
                    <a:pt x="713" y="39"/>
                  </a:cubicBezTo>
                  <a:cubicBezTo>
                    <a:pt x="713" y="37"/>
                    <a:pt x="713" y="36"/>
                    <a:pt x="715" y="34"/>
                  </a:cubicBezTo>
                  <a:cubicBezTo>
                    <a:pt x="716" y="33"/>
                    <a:pt x="718" y="33"/>
                    <a:pt x="721" y="33"/>
                  </a:cubicBezTo>
                  <a:cubicBezTo>
                    <a:pt x="723" y="33"/>
                    <a:pt x="725" y="33"/>
                    <a:pt x="727" y="34"/>
                  </a:cubicBezTo>
                  <a:cubicBezTo>
                    <a:pt x="729" y="35"/>
                    <a:pt x="731" y="36"/>
                    <a:pt x="733" y="37"/>
                  </a:cubicBezTo>
                  <a:lnTo>
                    <a:pt x="738" y="30"/>
                  </a:lnTo>
                  <a:cubicBezTo>
                    <a:pt x="736" y="28"/>
                    <a:pt x="734" y="27"/>
                    <a:pt x="731" y="25"/>
                  </a:cubicBezTo>
                  <a:cubicBezTo>
                    <a:pt x="728" y="24"/>
                    <a:pt x="724" y="23"/>
                    <a:pt x="720" y="23"/>
                  </a:cubicBezTo>
                  <a:cubicBezTo>
                    <a:pt x="714" y="23"/>
                    <a:pt x="710" y="25"/>
                    <a:pt x="706" y="28"/>
                  </a:cubicBezTo>
                  <a:cubicBezTo>
                    <a:pt x="703" y="31"/>
                    <a:pt x="701" y="35"/>
                    <a:pt x="701" y="39"/>
                  </a:cubicBezTo>
                  <a:cubicBezTo>
                    <a:pt x="701" y="42"/>
                    <a:pt x="701" y="44"/>
                    <a:pt x="702" y="45"/>
                  </a:cubicBezTo>
                  <a:cubicBezTo>
                    <a:pt x="703" y="47"/>
                    <a:pt x="704" y="48"/>
                    <a:pt x="706" y="50"/>
                  </a:cubicBezTo>
                  <a:cubicBezTo>
                    <a:pt x="707" y="51"/>
                    <a:pt x="709" y="52"/>
                    <a:pt x="711" y="53"/>
                  </a:cubicBezTo>
                  <a:cubicBezTo>
                    <a:pt x="712" y="54"/>
                    <a:pt x="714" y="54"/>
                    <a:pt x="716" y="55"/>
                  </a:cubicBezTo>
                  <a:cubicBezTo>
                    <a:pt x="717" y="56"/>
                    <a:pt x="719" y="56"/>
                    <a:pt x="720" y="57"/>
                  </a:cubicBezTo>
                  <a:cubicBezTo>
                    <a:pt x="722" y="57"/>
                    <a:pt x="723" y="58"/>
                    <a:pt x="724" y="59"/>
                  </a:cubicBezTo>
                  <a:cubicBezTo>
                    <a:pt x="725" y="59"/>
                    <a:pt x="726" y="60"/>
                    <a:pt x="727" y="61"/>
                  </a:cubicBezTo>
                  <a:cubicBezTo>
                    <a:pt x="727" y="62"/>
                    <a:pt x="728" y="63"/>
                    <a:pt x="728" y="64"/>
                  </a:cubicBezTo>
                  <a:cubicBezTo>
                    <a:pt x="728" y="66"/>
                    <a:pt x="727" y="67"/>
                    <a:pt x="725" y="69"/>
                  </a:cubicBezTo>
                  <a:cubicBezTo>
                    <a:pt x="724" y="70"/>
                    <a:pt x="722" y="70"/>
                    <a:pt x="719" y="70"/>
                  </a:cubicBezTo>
                  <a:cubicBezTo>
                    <a:pt x="716" y="70"/>
                    <a:pt x="714" y="70"/>
                    <a:pt x="711" y="69"/>
                  </a:cubicBezTo>
                  <a:cubicBezTo>
                    <a:pt x="709" y="68"/>
                    <a:pt x="706" y="66"/>
                    <a:pt x="704" y="64"/>
                  </a:cubicBezTo>
                  <a:lnTo>
                    <a:pt x="698" y="72"/>
                  </a:lnTo>
                  <a:close/>
                  <a:moveTo>
                    <a:pt x="749" y="64"/>
                  </a:moveTo>
                  <a:cubicBezTo>
                    <a:pt x="751" y="67"/>
                    <a:pt x="752" y="70"/>
                    <a:pt x="755" y="73"/>
                  </a:cubicBezTo>
                  <a:cubicBezTo>
                    <a:pt x="757" y="75"/>
                    <a:pt x="760" y="77"/>
                    <a:pt x="763" y="78"/>
                  </a:cubicBezTo>
                  <a:cubicBezTo>
                    <a:pt x="766" y="79"/>
                    <a:pt x="770" y="80"/>
                    <a:pt x="773" y="80"/>
                  </a:cubicBezTo>
                  <a:cubicBezTo>
                    <a:pt x="776" y="80"/>
                    <a:pt x="780" y="79"/>
                    <a:pt x="783" y="78"/>
                  </a:cubicBezTo>
                  <a:cubicBezTo>
                    <a:pt x="786" y="77"/>
                    <a:pt x="789" y="75"/>
                    <a:pt x="791" y="73"/>
                  </a:cubicBezTo>
                  <a:lnTo>
                    <a:pt x="786" y="65"/>
                  </a:lnTo>
                  <a:cubicBezTo>
                    <a:pt x="784" y="66"/>
                    <a:pt x="783" y="67"/>
                    <a:pt x="781" y="68"/>
                  </a:cubicBezTo>
                  <a:cubicBezTo>
                    <a:pt x="779" y="69"/>
                    <a:pt x="777" y="70"/>
                    <a:pt x="775" y="70"/>
                  </a:cubicBezTo>
                  <a:cubicBezTo>
                    <a:pt x="770" y="70"/>
                    <a:pt x="767" y="68"/>
                    <a:pt x="764" y="65"/>
                  </a:cubicBezTo>
                  <a:cubicBezTo>
                    <a:pt x="762" y="61"/>
                    <a:pt x="760" y="57"/>
                    <a:pt x="760" y="52"/>
                  </a:cubicBezTo>
                  <a:cubicBezTo>
                    <a:pt x="760" y="46"/>
                    <a:pt x="762" y="42"/>
                    <a:pt x="764" y="38"/>
                  </a:cubicBezTo>
                  <a:cubicBezTo>
                    <a:pt x="767" y="35"/>
                    <a:pt x="771" y="34"/>
                    <a:pt x="775" y="34"/>
                  </a:cubicBezTo>
                  <a:cubicBezTo>
                    <a:pt x="777" y="34"/>
                    <a:pt x="778" y="34"/>
                    <a:pt x="780" y="35"/>
                  </a:cubicBezTo>
                  <a:cubicBezTo>
                    <a:pt x="781" y="35"/>
                    <a:pt x="783" y="36"/>
                    <a:pt x="784" y="38"/>
                  </a:cubicBezTo>
                  <a:lnTo>
                    <a:pt x="790" y="29"/>
                  </a:lnTo>
                  <a:cubicBezTo>
                    <a:pt x="788" y="28"/>
                    <a:pt x="786" y="26"/>
                    <a:pt x="784" y="25"/>
                  </a:cubicBezTo>
                  <a:cubicBezTo>
                    <a:pt x="781" y="24"/>
                    <a:pt x="778" y="23"/>
                    <a:pt x="774" y="23"/>
                  </a:cubicBezTo>
                  <a:cubicBezTo>
                    <a:pt x="771" y="23"/>
                    <a:pt x="767" y="24"/>
                    <a:pt x="764" y="25"/>
                  </a:cubicBezTo>
                  <a:cubicBezTo>
                    <a:pt x="761" y="26"/>
                    <a:pt x="758" y="28"/>
                    <a:pt x="755" y="31"/>
                  </a:cubicBezTo>
                  <a:cubicBezTo>
                    <a:pt x="753" y="33"/>
                    <a:pt x="751" y="36"/>
                    <a:pt x="750" y="40"/>
                  </a:cubicBezTo>
                  <a:cubicBezTo>
                    <a:pt x="748" y="43"/>
                    <a:pt x="747" y="47"/>
                    <a:pt x="747" y="52"/>
                  </a:cubicBezTo>
                  <a:cubicBezTo>
                    <a:pt x="747" y="56"/>
                    <a:pt x="748" y="60"/>
                    <a:pt x="749" y="64"/>
                  </a:cubicBezTo>
                  <a:moveTo>
                    <a:pt x="802" y="79"/>
                  </a:moveTo>
                  <a:lnTo>
                    <a:pt x="814" y="79"/>
                  </a:lnTo>
                  <a:lnTo>
                    <a:pt x="814" y="41"/>
                  </a:lnTo>
                  <a:cubicBezTo>
                    <a:pt x="817" y="39"/>
                    <a:pt x="819" y="37"/>
                    <a:pt x="820" y="36"/>
                  </a:cubicBezTo>
                  <a:cubicBezTo>
                    <a:pt x="822" y="35"/>
                    <a:pt x="824" y="34"/>
                    <a:pt x="827" y="34"/>
                  </a:cubicBezTo>
                  <a:cubicBezTo>
                    <a:pt x="830" y="34"/>
                    <a:pt x="832" y="35"/>
                    <a:pt x="833" y="37"/>
                  </a:cubicBezTo>
                  <a:cubicBezTo>
                    <a:pt x="834" y="39"/>
                    <a:pt x="835" y="42"/>
                    <a:pt x="835" y="46"/>
                  </a:cubicBezTo>
                  <a:lnTo>
                    <a:pt x="835" y="79"/>
                  </a:lnTo>
                  <a:lnTo>
                    <a:pt x="848" y="79"/>
                  </a:lnTo>
                  <a:lnTo>
                    <a:pt x="848" y="45"/>
                  </a:lnTo>
                  <a:cubicBezTo>
                    <a:pt x="848" y="38"/>
                    <a:pt x="847" y="32"/>
                    <a:pt x="844" y="29"/>
                  </a:cubicBezTo>
                  <a:cubicBezTo>
                    <a:pt x="841" y="25"/>
                    <a:pt x="837" y="23"/>
                    <a:pt x="831" y="23"/>
                  </a:cubicBezTo>
                  <a:cubicBezTo>
                    <a:pt x="827" y="23"/>
                    <a:pt x="824" y="24"/>
                    <a:pt x="821" y="26"/>
                  </a:cubicBezTo>
                  <a:cubicBezTo>
                    <a:pt x="819" y="27"/>
                    <a:pt x="816" y="29"/>
                    <a:pt x="814" y="31"/>
                  </a:cubicBezTo>
                  <a:lnTo>
                    <a:pt x="814" y="21"/>
                  </a:lnTo>
                  <a:lnTo>
                    <a:pt x="814" y="1"/>
                  </a:lnTo>
                  <a:lnTo>
                    <a:pt x="802" y="1"/>
                  </a:lnTo>
                  <a:lnTo>
                    <a:pt x="802" y="79"/>
                  </a:lnTo>
                  <a:close/>
                  <a:moveTo>
                    <a:pt x="865" y="76"/>
                  </a:moveTo>
                  <a:cubicBezTo>
                    <a:pt x="868" y="78"/>
                    <a:pt x="872" y="80"/>
                    <a:pt x="877" y="80"/>
                  </a:cubicBezTo>
                  <a:cubicBezTo>
                    <a:pt x="880" y="80"/>
                    <a:pt x="883" y="79"/>
                    <a:pt x="886" y="78"/>
                  </a:cubicBezTo>
                  <a:cubicBezTo>
                    <a:pt x="889" y="76"/>
                    <a:pt x="891" y="75"/>
                    <a:pt x="894" y="73"/>
                  </a:cubicBezTo>
                  <a:lnTo>
                    <a:pt x="894" y="73"/>
                  </a:lnTo>
                  <a:lnTo>
                    <a:pt x="895" y="79"/>
                  </a:lnTo>
                  <a:lnTo>
                    <a:pt x="905" y="79"/>
                  </a:lnTo>
                  <a:lnTo>
                    <a:pt x="905" y="47"/>
                  </a:lnTo>
                  <a:cubicBezTo>
                    <a:pt x="905" y="39"/>
                    <a:pt x="904" y="33"/>
                    <a:pt x="900" y="29"/>
                  </a:cubicBezTo>
                  <a:cubicBezTo>
                    <a:pt x="897" y="25"/>
                    <a:pt x="892" y="23"/>
                    <a:pt x="885" y="23"/>
                  </a:cubicBezTo>
                  <a:cubicBezTo>
                    <a:pt x="881" y="23"/>
                    <a:pt x="877" y="24"/>
                    <a:pt x="873" y="25"/>
                  </a:cubicBezTo>
                  <a:cubicBezTo>
                    <a:pt x="869" y="27"/>
                    <a:pt x="866" y="28"/>
                    <a:pt x="863" y="30"/>
                  </a:cubicBezTo>
                  <a:lnTo>
                    <a:pt x="868" y="39"/>
                  </a:lnTo>
                  <a:cubicBezTo>
                    <a:pt x="870" y="37"/>
                    <a:pt x="872" y="36"/>
                    <a:pt x="875" y="35"/>
                  </a:cubicBezTo>
                  <a:cubicBezTo>
                    <a:pt x="877" y="34"/>
                    <a:pt x="880" y="33"/>
                    <a:pt x="883" y="33"/>
                  </a:cubicBezTo>
                  <a:cubicBezTo>
                    <a:pt x="885" y="33"/>
                    <a:pt x="886" y="34"/>
                    <a:pt x="887" y="34"/>
                  </a:cubicBezTo>
                  <a:cubicBezTo>
                    <a:pt x="889" y="35"/>
                    <a:pt x="890" y="36"/>
                    <a:pt x="890" y="37"/>
                  </a:cubicBezTo>
                  <a:cubicBezTo>
                    <a:pt x="891" y="38"/>
                    <a:pt x="892" y="39"/>
                    <a:pt x="892" y="40"/>
                  </a:cubicBezTo>
                  <a:cubicBezTo>
                    <a:pt x="892" y="41"/>
                    <a:pt x="893" y="43"/>
                    <a:pt x="893" y="44"/>
                  </a:cubicBezTo>
                  <a:cubicBezTo>
                    <a:pt x="882" y="45"/>
                    <a:pt x="873" y="47"/>
                    <a:pt x="868" y="51"/>
                  </a:cubicBezTo>
                  <a:cubicBezTo>
                    <a:pt x="863" y="54"/>
                    <a:pt x="861" y="58"/>
                    <a:pt x="861" y="64"/>
                  </a:cubicBezTo>
                  <a:cubicBezTo>
                    <a:pt x="861" y="69"/>
                    <a:pt x="862" y="73"/>
                    <a:pt x="865" y="76"/>
                  </a:cubicBezTo>
                  <a:moveTo>
                    <a:pt x="874" y="59"/>
                  </a:moveTo>
                  <a:cubicBezTo>
                    <a:pt x="875" y="58"/>
                    <a:pt x="876" y="57"/>
                    <a:pt x="877" y="56"/>
                  </a:cubicBezTo>
                  <a:cubicBezTo>
                    <a:pt x="879" y="55"/>
                    <a:pt x="881" y="54"/>
                    <a:pt x="883" y="54"/>
                  </a:cubicBezTo>
                  <a:cubicBezTo>
                    <a:pt x="886" y="53"/>
                    <a:pt x="889" y="52"/>
                    <a:pt x="893" y="52"/>
                  </a:cubicBezTo>
                  <a:lnTo>
                    <a:pt x="893" y="64"/>
                  </a:lnTo>
                  <a:cubicBezTo>
                    <a:pt x="891" y="66"/>
                    <a:pt x="889" y="67"/>
                    <a:pt x="887" y="68"/>
                  </a:cubicBezTo>
                  <a:cubicBezTo>
                    <a:pt x="885" y="69"/>
                    <a:pt x="883" y="70"/>
                    <a:pt x="881" y="70"/>
                  </a:cubicBezTo>
                  <a:cubicBezTo>
                    <a:pt x="879" y="70"/>
                    <a:pt x="877" y="69"/>
                    <a:pt x="875" y="68"/>
                  </a:cubicBezTo>
                  <a:cubicBezTo>
                    <a:pt x="874" y="67"/>
                    <a:pt x="873" y="65"/>
                    <a:pt x="873" y="63"/>
                  </a:cubicBezTo>
                  <a:cubicBezTo>
                    <a:pt x="873" y="62"/>
                    <a:pt x="873" y="60"/>
                    <a:pt x="874" y="59"/>
                  </a:cubicBezTo>
                  <a:moveTo>
                    <a:pt x="979" y="69"/>
                  </a:moveTo>
                  <a:cubicBezTo>
                    <a:pt x="979" y="69"/>
                    <a:pt x="978" y="69"/>
                    <a:pt x="977" y="69"/>
                  </a:cubicBezTo>
                  <a:cubicBezTo>
                    <a:pt x="976" y="70"/>
                    <a:pt x="975" y="70"/>
                    <a:pt x="974" y="70"/>
                  </a:cubicBezTo>
                  <a:cubicBezTo>
                    <a:pt x="969" y="70"/>
                    <a:pt x="966" y="67"/>
                    <a:pt x="966" y="60"/>
                  </a:cubicBezTo>
                  <a:lnTo>
                    <a:pt x="966" y="35"/>
                  </a:lnTo>
                  <a:lnTo>
                    <a:pt x="980" y="35"/>
                  </a:lnTo>
                  <a:lnTo>
                    <a:pt x="980" y="25"/>
                  </a:lnTo>
                  <a:lnTo>
                    <a:pt x="966" y="25"/>
                  </a:lnTo>
                  <a:lnTo>
                    <a:pt x="966" y="10"/>
                  </a:lnTo>
                  <a:lnTo>
                    <a:pt x="956" y="10"/>
                  </a:lnTo>
                  <a:lnTo>
                    <a:pt x="954" y="25"/>
                  </a:lnTo>
                  <a:lnTo>
                    <a:pt x="936" y="25"/>
                  </a:lnTo>
                  <a:lnTo>
                    <a:pt x="936" y="19"/>
                  </a:lnTo>
                  <a:cubicBezTo>
                    <a:pt x="936" y="13"/>
                    <a:pt x="938" y="10"/>
                    <a:pt x="942" y="10"/>
                  </a:cubicBezTo>
                  <a:cubicBezTo>
                    <a:pt x="944" y="10"/>
                    <a:pt x="946" y="10"/>
                    <a:pt x="948" y="11"/>
                  </a:cubicBezTo>
                  <a:lnTo>
                    <a:pt x="951" y="1"/>
                  </a:lnTo>
                  <a:cubicBezTo>
                    <a:pt x="949" y="1"/>
                    <a:pt x="948" y="0"/>
                    <a:pt x="946" y="0"/>
                  </a:cubicBezTo>
                  <a:cubicBezTo>
                    <a:pt x="945" y="0"/>
                    <a:pt x="943" y="0"/>
                    <a:pt x="941" y="0"/>
                  </a:cubicBezTo>
                  <a:cubicBezTo>
                    <a:pt x="938" y="0"/>
                    <a:pt x="935" y="0"/>
                    <a:pt x="933" y="1"/>
                  </a:cubicBezTo>
                  <a:cubicBezTo>
                    <a:pt x="930" y="2"/>
                    <a:pt x="929" y="3"/>
                    <a:pt x="927" y="5"/>
                  </a:cubicBezTo>
                  <a:cubicBezTo>
                    <a:pt x="926" y="7"/>
                    <a:pt x="925" y="9"/>
                    <a:pt x="924" y="11"/>
                  </a:cubicBezTo>
                  <a:cubicBezTo>
                    <a:pt x="923" y="14"/>
                    <a:pt x="923" y="16"/>
                    <a:pt x="923" y="19"/>
                  </a:cubicBezTo>
                  <a:lnTo>
                    <a:pt x="923" y="25"/>
                  </a:lnTo>
                  <a:lnTo>
                    <a:pt x="916" y="25"/>
                  </a:lnTo>
                  <a:lnTo>
                    <a:pt x="916" y="35"/>
                  </a:lnTo>
                  <a:lnTo>
                    <a:pt x="923" y="35"/>
                  </a:lnTo>
                  <a:lnTo>
                    <a:pt x="923" y="79"/>
                  </a:lnTo>
                  <a:lnTo>
                    <a:pt x="936" y="79"/>
                  </a:lnTo>
                  <a:lnTo>
                    <a:pt x="936" y="35"/>
                  </a:lnTo>
                  <a:lnTo>
                    <a:pt x="953" y="35"/>
                  </a:lnTo>
                  <a:lnTo>
                    <a:pt x="953" y="60"/>
                  </a:lnTo>
                  <a:cubicBezTo>
                    <a:pt x="953" y="63"/>
                    <a:pt x="954" y="66"/>
                    <a:pt x="954" y="68"/>
                  </a:cubicBezTo>
                  <a:cubicBezTo>
                    <a:pt x="955" y="71"/>
                    <a:pt x="956" y="73"/>
                    <a:pt x="957" y="74"/>
                  </a:cubicBezTo>
                  <a:cubicBezTo>
                    <a:pt x="959" y="76"/>
                    <a:pt x="960" y="78"/>
                    <a:pt x="963" y="78"/>
                  </a:cubicBezTo>
                  <a:cubicBezTo>
                    <a:pt x="965" y="79"/>
                    <a:pt x="967" y="80"/>
                    <a:pt x="971" y="80"/>
                  </a:cubicBezTo>
                  <a:cubicBezTo>
                    <a:pt x="973" y="80"/>
                    <a:pt x="975" y="80"/>
                    <a:pt x="977" y="79"/>
                  </a:cubicBezTo>
                  <a:cubicBezTo>
                    <a:pt x="979" y="79"/>
                    <a:pt x="980" y="78"/>
                    <a:pt x="982" y="78"/>
                  </a:cubicBezTo>
                  <a:lnTo>
                    <a:pt x="979" y="69"/>
                  </a:lnTo>
                </a:path>
              </a:pathLst>
            </a:custGeom>
            <a:solidFill>
              <a:srgbClr val="0068A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CF21BD4-E202-4B10-BDFA-B1657B5529C3}"/>
              </a:ext>
            </a:extLst>
          </p:cNvPr>
          <p:cNvCxnSpPr/>
          <p:nvPr/>
        </p:nvCxnSpPr>
        <p:spPr>
          <a:xfrm>
            <a:off x="0" y="576163"/>
            <a:ext cx="9215438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0B513A51-74B2-4394-A301-5C6DE9C9607B}"/>
              </a:ext>
            </a:extLst>
          </p:cNvPr>
          <p:cNvGrpSpPr>
            <a:grpSpLocks noChangeAspect="1"/>
          </p:cNvGrpSpPr>
          <p:nvPr/>
        </p:nvGrpSpPr>
        <p:grpSpPr bwMode="ltGray">
          <a:xfrm>
            <a:off x="7682056" y="21600"/>
            <a:ext cx="1104108" cy="739329"/>
            <a:chOff x="7682056" y="-1340"/>
            <a:chExt cx="1104108" cy="739329"/>
          </a:xfrm>
        </p:grpSpPr>
        <p:sp>
          <p:nvSpPr>
            <p:cNvPr id="35" name="Rectangle 23">
              <a:extLst>
                <a:ext uri="{FF2B5EF4-FFF2-40B4-BE49-F238E27FC236}">
                  <a16:creationId xmlns:a16="http://schemas.microsoft.com/office/drawing/2014/main" id="{83FC8CB0-9377-43DD-A543-4CC7FDF5F7BF}"/>
                </a:ext>
              </a:extLst>
            </p:cNvPr>
            <p:cNvSpPr>
              <a:spLocks noChangeArrowheads="1"/>
            </p:cNvSpPr>
            <p:nvPr/>
          </p:nvSpPr>
          <p:spPr bwMode="ltGray">
            <a:xfrm>
              <a:off x="7682056" y="-1340"/>
              <a:ext cx="1104108" cy="739329"/>
            </a:xfrm>
            <a:prstGeom prst="rect">
              <a:avLst/>
            </a:prstGeom>
            <a:solidFill>
              <a:srgbClr val="FFFFFF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24">
              <a:extLst>
                <a:ext uri="{FF2B5EF4-FFF2-40B4-BE49-F238E27FC236}">
                  <a16:creationId xmlns:a16="http://schemas.microsoft.com/office/drawing/2014/main" id="{E18C45ED-ED04-41D3-A1DA-C162BCBCEEF0}"/>
                </a:ext>
              </a:extLst>
            </p:cNvPr>
            <p:cNvSpPr>
              <a:spLocks/>
            </p:cNvSpPr>
            <p:nvPr/>
          </p:nvSpPr>
          <p:spPr bwMode="ltGray">
            <a:xfrm>
              <a:off x="8398179" y="246595"/>
              <a:ext cx="216995" cy="186868"/>
            </a:xfrm>
            <a:custGeom>
              <a:avLst/>
              <a:gdLst>
                <a:gd name="T0" fmla="*/ 0 w 333"/>
                <a:gd name="T1" fmla="*/ 0 h 287"/>
                <a:gd name="T2" fmla="*/ 0 w 333"/>
                <a:gd name="T3" fmla="*/ 162 h 287"/>
                <a:gd name="T4" fmla="*/ 167 w 333"/>
                <a:gd name="T5" fmla="*/ 224 h 287"/>
                <a:gd name="T6" fmla="*/ 235 w 333"/>
                <a:gd name="T7" fmla="*/ 255 h 287"/>
                <a:gd name="T8" fmla="*/ 333 w 333"/>
                <a:gd name="T9" fmla="*/ 162 h 287"/>
                <a:gd name="T10" fmla="*/ 333 w 333"/>
                <a:gd name="T11" fmla="*/ 0 h 287"/>
                <a:gd name="T12" fmla="*/ 274 w 333"/>
                <a:gd name="T13" fmla="*/ 0 h 287"/>
                <a:gd name="T14" fmla="*/ 274 w 333"/>
                <a:gd name="T15" fmla="*/ 163 h 287"/>
                <a:gd name="T16" fmla="*/ 196 w 333"/>
                <a:gd name="T17" fmla="*/ 163 h 287"/>
                <a:gd name="T18" fmla="*/ 196 w 333"/>
                <a:gd name="T19" fmla="*/ 0 h 287"/>
                <a:gd name="T20" fmla="*/ 137 w 333"/>
                <a:gd name="T21" fmla="*/ 0 h 287"/>
                <a:gd name="T22" fmla="*/ 137 w 333"/>
                <a:gd name="T23" fmla="*/ 163 h 287"/>
                <a:gd name="T24" fmla="*/ 98 w 333"/>
                <a:gd name="T25" fmla="*/ 201 h 287"/>
                <a:gd name="T26" fmla="*/ 59 w 333"/>
                <a:gd name="T27" fmla="*/ 163 h 287"/>
                <a:gd name="T28" fmla="*/ 59 w 333"/>
                <a:gd name="T29" fmla="*/ 0 h 287"/>
                <a:gd name="T30" fmla="*/ 0 w 333"/>
                <a:gd name="T31" fmla="*/ 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3" h="287">
                  <a:moveTo>
                    <a:pt x="0" y="0"/>
                  </a:moveTo>
                  <a:lnTo>
                    <a:pt x="0" y="162"/>
                  </a:lnTo>
                  <a:cubicBezTo>
                    <a:pt x="3" y="248"/>
                    <a:pt x="108" y="287"/>
                    <a:pt x="167" y="224"/>
                  </a:cubicBezTo>
                  <a:cubicBezTo>
                    <a:pt x="184" y="244"/>
                    <a:pt x="209" y="255"/>
                    <a:pt x="235" y="255"/>
                  </a:cubicBezTo>
                  <a:cubicBezTo>
                    <a:pt x="287" y="256"/>
                    <a:pt x="331" y="215"/>
                    <a:pt x="333" y="162"/>
                  </a:cubicBezTo>
                  <a:lnTo>
                    <a:pt x="333" y="0"/>
                  </a:lnTo>
                  <a:lnTo>
                    <a:pt x="274" y="0"/>
                  </a:lnTo>
                  <a:lnTo>
                    <a:pt x="274" y="163"/>
                  </a:lnTo>
                  <a:cubicBezTo>
                    <a:pt x="272" y="213"/>
                    <a:pt x="198" y="213"/>
                    <a:pt x="196" y="163"/>
                  </a:cubicBezTo>
                  <a:lnTo>
                    <a:pt x="196" y="0"/>
                  </a:lnTo>
                  <a:lnTo>
                    <a:pt x="137" y="0"/>
                  </a:lnTo>
                  <a:lnTo>
                    <a:pt x="137" y="163"/>
                  </a:lnTo>
                  <a:cubicBezTo>
                    <a:pt x="137" y="184"/>
                    <a:pt x="119" y="201"/>
                    <a:pt x="98" y="201"/>
                  </a:cubicBezTo>
                  <a:cubicBezTo>
                    <a:pt x="77" y="201"/>
                    <a:pt x="60" y="184"/>
                    <a:pt x="59" y="163"/>
                  </a:cubicBezTo>
                  <a:lnTo>
                    <a:pt x="5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25">
              <a:extLst>
                <a:ext uri="{FF2B5EF4-FFF2-40B4-BE49-F238E27FC236}">
                  <a16:creationId xmlns:a16="http://schemas.microsoft.com/office/drawing/2014/main" id="{DCF299C9-47A0-4FEC-95F4-EC8CEB959BD4}"/>
                </a:ext>
              </a:extLst>
            </p:cNvPr>
            <p:cNvSpPr>
              <a:spLocks/>
            </p:cNvSpPr>
            <p:nvPr/>
          </p:nvSpPr>
          <p:spPr bwMode="ltGray">
            <a:xfrm>
              <a:off x="8208869" y="236011"/>
              <a:ext cx="176283" cy="183204"/>
            </a:xfrm>
            <a:custGeom>
              <a:avLst/>
              <a:gdLst>
                <a:gd name="T0" fmla="*/ 269 w 271"/>
                <a:gd name="T1" fmla="*/ 157 h 281"/>
                <a:gd name="T2" fmla="*/ 271 w 271"/>
                <a:gd name="T3" fmla="*/ 137 h 281"/>
                <a:gd name="T4" fmla="*/ 153 w 271"/>
                <a:gd name="T5" fmla="*/ 7 h 281"/>
                <a:gd name="T6" fmla="*/ 12 w 271"/>
                <a:gd name="T7" fmla="*/ 113 h 281"/>
                <a:gd name="T8" fmla="*/ 104 w 271"/>
                <a:gd name="T9" fmla="*/ 263 h 281"/>
                <a:gd name="T10" fmla="*/ 262 w 271"/>
                <a:gd name="T11" fmla="*/ 184 h 281"/>
                <a:gd name="T12" fmla="*/ 201 w 271"/>
                <a:gd name="T13" fmla="*/ 184 h 281"/>
                <a:gd name="T14" fmla="*/ 64 w 271"/>
                <a:gd name="T15" fmla="*/ 130 h 281"/>
                <a:gd name="T16" fmla="*/ 209 w 271"/>
                <a:gd name="T17" fmla="*/ 103 h 281"/>
                <a:gd name="T18" fmla="*/ 116 w 271"/>
                <a:gd name="T19" fmla="*/ 103 h 281"/>
                <a:gd name="T20" fmla="*/ 116 w 271"/>
                <a:gd name="T21" fmla="*/ 157 h 281"/>
                <a:gd name="T22" fmla="*/ 269 w 271"/>
                <a:gd name="T23" fmla="*/ 157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1" h="281">
                  <a:moveTo>
                    <a:pt x="269" y="157"/>
                  </a:moveTo>
                  <a:cubicBezTo>
                    <a:pt x="271" y="150"/>
                    <a:pt x="271" y="144"/>
                    <a:pt x="271" y="137"/>
                  </a:cubicBezTo>
                  <a:cubicBezTo>
                    <a:pt x="271" y="70"/>
                    <a:pt x="220" y="13"/>
                    <a:pt x="153" y="7"/>
                  </a:cubicBezTo>
                  <a:cubicBezTo>
                    <a:pt x="86" y="0"/>
                    <a:pt x="25" y="46"/>
                    <a:pt x="12" y="113"/>
                  </a:cubicBezTo>
                  <a:cubicBezTo>
                    <a:pt x="0" y="179"/>
                    <a:pt x="39" y="244"/>
                    <a:pt x="104" y="263"/>
                  </a:cubicBezTo>
                  <a:cubicBezTo>
                    <a:pt x="169" y="281"/>
                    <a:pt x="238" y="247"/>
                    <a:pt x="262" y="184"/>
                  </a:cubicBezTo>
                  <a:lnTo>
                    <a:pt x="201" y="184"/>
                  </a:lnTo>
                  <a:cubicBezTo>
                    <a:pt x="154" y="245"/>
                    <a:pt x="57" y="206"/>
                    <a:pt x="64" y="130"/>
                  </a:cubicBezTo>
                  <a:cubicBezTo>
                    <a:pt x="72" y="53"/>
                    <a:pt x="175" y="34"/>
                    <a:pt x="209" y="103"/>
                  </a:cubicBezTo>
                  <a:lnTo>
                    <a:pt x="116" y="103"/>
                  </a:lnTo>
                  <a:lnTo>
                    <a:pt x="116" y="157"/>
                  </a:lnTo>
                  <a:lnTo>
                    <a:pt x="269" y="157"/>
                  </a:lnTo>
                  <a:close/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26">
              <a:extLst>
                <a:ext uri="{FF2B5EF4-FFF2-40B4-BE49-F238E27FC236}">
                  <a16:creationId xmlns:a16="http://schemas.microsoft.com/office/drawing/2014/main" id="{6C17399E-4CB7-4794-AA31-56EB510FB90C}"/>
                </a:ext>
              </a:extLst>
            </p:cNvPr>
            <p:cNvSpPr>
              <a:spLocks noEditPoints="1"/>
            </p:cNvSpPr>
            <p:nvPr/>
          </p:nvSpPr>
          <p:spPr bwMode="ltGray">
            <a:xfrm>
              <a:off x="8032586" y="170057"/>
              <a:ext cx="170176" cy="242643"/>
            </a:xfrm>
            <a:custGeom>
              <a:avLst/>
              <a:gdLst>
                <a:gd name="T0" fmla="*/ 148 w 261"/>
                <a:gd name="T1" fmla="*/ 316 h 372"/>
                <a:gd name="T2" fmla="*/ 130 w 261"/>
                <a:gd name="T3" fmla="*/ 318 h 372"/>
                <a:gd name="T4" fmla="*/ 101 w 261"/>
                <a:gd name="T5" fmla="*/ 312 h 372"/>
                <a:gd name="T6" fmla="*/ 136 w 261"/>
                <a:gd name="T7" fmla="*/ 164 h 372"/>
                <a:gd name="T8" fmla="*/ 148 w 261"/>
                <a:gd name="T9" fmla="*/ 316 h 372"/>
                <a:gd name="T10" fmla="*/ 205 w 261"/>
                <a:gd name="T11" fmla="*/ 0 h 372"/>
                <a:gd name="T12" fmla="*/ 205 w 261"/>
                <a:gd name="T13" fmla="*/ 138 h 372"/>
                <a:gd name="T14" fmla="*/ 130 w 261"/>
                <a:gd name="T15" fmla="*/ 113 h 372"/>
                <a:gd name="T16" fmla="*/ 0 w 261"/>
                <a:gd name="T17" fmla="*/ 242 h 372"/>
                <a:gd name="T18" fmla="*/ 130 w 261"/>
                <a:gd name="T19" fmla="*/ 372 h 372"/>
                <a:gd name="T20" fmla="*/ 205 w 261"/>
                <a:gd name="T21" fmla="*/ 347 h 372"/>
                <a:gd name="T22" fmla="*/ 205 w 261"/>
                <a:gd name="T23" fmla="*/ 369 h 372"/>
                <a:gd name="T24" fmla="*/ 261 w 261"/>
                <a:gd name="T25" fmla="*/ 369 h 372"/>
                <a:gd name="T26" fmla="*/ 261 w 261"/>
                <a:gd name="T27" fmla="*/ 0 h 372"/>
                <a:gd name="T28" fmla="*/ 205 w 261"/>
                <a:gd name="T29" fmla="*/ 0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1" h="372">
                  <a:moveTo>
                    <a:pt x="148" y="316"/>
                  </a:moveTo>
                  <a:cubicBezTo>
                    <a:pt x="142" y="318"/>
                    <a:pt x="136" y="318"/>
                    <a:pt x="130" y="318"/>
                  </a:cubicBezTo>
                  <a:cubicBezTo>
                    <a:pt x="120" y="318"/>
                    <a:pt x="110" y="316"/>
                    <a:pt x="101" y="312"/>
                  </a:cubicBezTo>
                  <a:cubicBezTo>
                    <a:pt x="20" y="279"/>
                    <a:pt x="49" y="157"/>
                    <a:pt x="136" y="164"/>
                  </a:cubicBezTo>
                  <a:cubicBezTo>
                    <a:pt x="224" y="171"/>
                    <a:pt x="234" y="296"/>
                    <a:pt x="148" y="316"/>
                  </a:cubicBezTo>
                  <a:moveTo>
                    <a:pt x="205" y="0"/>
                  </a:moveTo>
                  <a:lnTo>
                    <a:pt x="205" y="138"/>
                  </a:lnTo>
                  <a:cubicBezTo>
                    <a:pt x="184" y="122"/>
                    <a:pt x="157" y="113"/>
                    <a:pt x="130" y="113"/>
                  </a:cubicBezTo>
                  <a:cubicBezTo>
                    <a:pt x="59" y="113"/>
                    <a:pt x="0" y="171"/>
                    <a:pt x="0" y="242"/>
                  </a:cubicBezTo>
                  <a:cubicBezTo>
                    <a:pt x="0" y="314"/>
                    <a:pt x="59" y="372"/>
                    <a:pt x="130" y="372"/>
                  </a:cubicBezTo>
                  <a:cubicBezTo>
                    <a:pt x="157" y="372"/>
                    <a:pt x="184" y="363"/>
                    <a:pt x="205" y="347"/>
                  </a:cubicBezTo>
                  <a:lnTo>
                    <a:pt x="205" y="369"/>
                  </a:lnTo>
                  <a:lnTo>
                    <a:pt x="261" y="369"/>
                  </a:lnTo>
                  <a:lnTo>
                    <a:pt x="261" y="0"/>
                  </a:lnTo>
                  <a:lnTo>
                    <a:pt x="205" y="0"/>
                  </a:lnTo>
                  <a:close/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27">
              <a:extLst>
                <a:ext uri="{FF2B5EF4-FFF2-40B4-BE49-F238E27FC236}">
                  <a16:creationId xmlns:a16="http://schemas.microsoft.com/office/drawing/2014/main" id="{2EBE080F-93F5-4210-BC0E-66F26D0AC1A1}"/>
                </a:ext>
              </a:extLst>
            </p:cNvPr>
            <p:cNvSpPr>
              <a:spLocks noEditPoints="1"/>
            </p:cNvSpPr>
            <p:nvPr/>
          </p:nvSpPr>
          <p:spPr bwMode="ltGray">
            <a:xfrm>
              <a:off x="7852639" y="170057"/>
              <a:ext cx="170176" cy="242643"/>
            </a:xfrm>
            <a:custGeom>
              <a:avLst/>
              <a:gdLst>
                <a:gd name="T0" fmla="*/ 160 w 261"/>
                <a:gd name="T1" fmla="*/ 312 h 372"/>
                <a:gd name="T2" fmla="*/ 131 w 261"/>
                <a:gd name="T3" fmla="*/ 319 h 372"/>
                <a:gd name="T4" fmla="*/ 114 w 261"/>
                <a:gd name="T5" fmla="*/ 316 h 372"/>
                <a:gd name="T6" fmla="*/ 125 w 261"/>
                <a:gd name="T7" fmla="*/ 165 h 372"/>
                <a:gd name="T8" fmla="*/ 160 w 261"/>
                <a:gd name="T9" fmla="*/ 312 h 372"/>
                <a:gd name="T10" fmla="*/ 131 w 261"/>
                <a:gd name="T11" fmla="*/ 113 h 372"/>
                <a:gd name="T12" fmla="*/ 56 w 261"/>
                <a:gd name="T13" fmla="*/ 138 h 372"/>
                <a:gd name="T14" fmla="*/ 56 w 261"/>
                <a:gd name="T15" fmla="*/ 0 h 372"/>
                <a:gd name="T16" fmla="*/ 0 w 261"/>
                <a:gd name="T17" fmla="*/ 0 h 372"/>
                <a:gd name="T18" fmla="*/ 0 w 261"/>
                <a:gd name="T19" fmla="*/ 369 h 372"/>
                <a:gd name="T20" fmla="*/ 56 w 261"/>
                <a:gd name="T21" fmla="*/ 369 h 372"/>
                <a:gd name="T22" fmla="*/ 56 w 261"/>
                <a:gd name="T23" fmla="*/ 347 h 372"/>
                <a:gd name="T24" fmla="*/ 131 w 261"/>
                <a:gd name="T25" fmla="*/ 372 h 372"/>
                <a:gd name="T26" fmla="*/ 261 w 261"/>
                <a:gd name="T27" fmla="*/ 242 h 372"/>
                <a:gd name="T28" fmla="*/ 131 w 261"/>
                <a:gd name="T29" fmla="*/ 113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1" h="372">
                  <a:moveTo>
                    <a:pt x="160" y="312"/>
                  </a:moveTo>
                  <a:cubicBezTo>
                    <a:pt x="151" y="316"/>
                    <a:pt x="141" y="319"/>
                    <a:pt x="131" y="319"/>
                  </a:cubicBezTo>
                  <a:cubicBezTo>
                    <a:pt x="125" y="318"/>
                    <a:pt x="119" y="318"/>
                    <a:pt x="114" y="316"/>
                  </a:cubicBezTo>
                  <a:cubicBezTo>
                    <a:pt x="28" y="296"/>
                    <a:pt x="38" y="172"/>
                    <a:pt x="125" y="165"/>
                  </a:cubicBezTo>
                  <a:cubicBezTo>
                    <a:pt x="212" y="158"/>
                    <a:pt x="241" y="279"/>
                    <a:pt x="160" y="312"/>
                  </a:cubicBezTo>
                  <a:close/>
                  <a:moveTo>
                    <a:pt x="131" y="113"/>
                  </a:moveTo>
                  <a:cubicBezTo>
                    <a:pt x="104" y="113"/>
                    <a:pt x="78" y="122"/>
                    <a:pt x="56" y="138"/>
                  </a:cubicBezTo>
                  <a:lnTo>
                    <a:pt x="56" y="0"/>
                  </a:lnTo>
                  <a:lnTo>
                    <a:pt x="0" y="0"/>
                  </a:lnTo>
                  <a:lnTo>
                    <a:pt x="0" y="369"/>
                  </a:lnTo>
                  <a:lnTo>
                    <a:pt x="56" y="369"/>
                  </a:lnTo>
                  <a:lnTo>
                    <a:pt x="56" y="347"/>
                  </a:lnTo>
                  <a:cubicBezTo>
                    <a:pt x="78" y="363"/>
                    <a:pt x="104" y="372"/>
                    <a:pt x="131" y="372"/>
                  </a:cubicBezTo>
                  <a:cubicBezTo>
                    <a:pt x="203" y="372"/>
                    <a:pt x="261" y="314"/>
                    <a:pt x="261" y="242"/>
                  </a:cubicBezTo>
                  <a:cubicBezTo>
                    <a:pt x="261" y="171"/>
                    <a:pt x="203" y="113"/>
                    <a:pt x="131" y="113"/>
                  </a:cubicBezTo>
                </a:path>
              </a:pathLst>
            </a:custGeom>
            <a:solidFill>
              <a:srgbClr val="C2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C0FE6EF4-F07A-4BEC-AF60-7AB3D6BD44C4}"/>
                </a:ext>
              </a:extLst>
            </p:cNvPr>
            <p:cNvSpPr>
              <a:spLocks noEditPoints="1"/>
            </p:cNvSpPr>
            <p:nvPr/>
          </p:nvSpPr>
          <p:spPr bwMode="ltGray">
            <a:xfrm>
              <a:off x="7852639" y="495346"/>
              <a:ext cx="762535" cy="71653"/>
            </a:xfrm>
            <a:custGeom>
              <a:avLst/>
              <a:gdLst>
                <a:gd name="T0" fmla="*/ 43 w 1170"/>
                <a:gd name="T1" fmla="*/ 53 h 110"/>
                <a:gd name="T2" fmla="*/ 48 w 1170"/>
                <a:gd name="T3" fmla="*/ 9 h 110"/>
                <a:gd name="T4" fmla="*/ 111 w 1170"/>
                <a:gd name="T5" fmla="*/ 47 h 110"/>
                <a:gd name="T6" fmla="*/ 61 w 1170"/>
                <a:gd name="T7" fmla="*/ 29 h 110"/>
                <a:gd name="T8" fmla="*/ 89 w 1170"/>
                <a:gd name="T9" fmla="*/ 41 h 110"/>
                <a:gd name="T10" fmla="*/ 149 w 1170"/>
                <a:gd name="T11" fmla="*/ 28 h 110"/>
                <a:gd name="T12" fmla="*/ 150 w 1170"/>
                <a:gd name="T13" fmla="*/ 75 h 110"/>
                <a:gd name="T14" fmla="*/ 140 w 1170"/>
                <a:gd name="T15" fmla="*/ 52 h 110"/>
                <a:gd name="T16" fmla="*/ 203 w 1170"/>
                <a:gd name="T17" fmla="*/ 35 h 110"/>
                <a:gd name="T18" fmla="*/ 187 w 1170"/>
                <a:gd name="T19" fmla="*/ 86 h 110"/>
                <a:gd name="T20" fmla="*/ 220 w 1170"/>
                <a:gd name="T21" fmla="*/ 29 h 110"/>
                <a:gd name="T22" fmla="*/ 229 w 1170"/>
                <a:gd name="T23" fmla="*/ 57 h 110"/>
                <a:gd name="T24" fmla="*/ 264 w 1170"/>
                <a:gd name="T25" fmla="*/ 91 h 110"/>
                <a:gd name="T26" fmla="*/ 279 w 1170"/>
                <a:gd name="T27" fmla="*/ 94 h 110"/>
                <a:gd name="T28" fmla="*/ 253 w 1170"/>
                <a:gd name="T29" fmla="*/ 73 h 110"/>
                <a:gd name="T30" fmla="*/ 312 w 1170"/>
                <a:gd name="T31" fmla="*/ 10 h 110"/>
                <a:gd name="T32" fmla="*/ 310 w 1170"/>
                <a:gd name="T33" fmla="*/ 41 h 110"/>
                <a:gd name="T34" fmla="*/ 372 w 1170"/>
                <a:gd name="T35" fmla="*/ 56 h 110"/>
                <a:gd name="T36" fmla="*/ 371 w 1170"/>
                <a:gd name="T37" fmla="*/ 69 h 110"/>
                <a:gd name="T38" fmla="*/ 357 w 1170"/>
                <a:gd name="T39" fmla="*/ 52 h 110"/>
                <a:gd name="T40" fmla="*/ 384 w 1170"/>
                <a:gd name="T41" fmla="*/ 79 h 110"/>
                <a:gd name="T42" fmla="*/ 500 w 1170"/>
                <a:gd name="T43" fmla="*/ 46 h 110"/>
                <a:gd name="T44" fmla="*/ 460 w 1170"/>
                <a:gd name="T45" fmla="*/ 46 h 110"/>
                <a:gd name="T46" fmla="*/ 448 w 1170"/>
                <a:gd name="T47" fmla="*/ 86 h 110"/>
                <a:gd name="T48" fmla="*/ 488 w 1170"/>
                <a:gd name="T49" fmla="*/ 86 h 110"/>
                <a:gd name="T50" fmla="*/ 577 w 1170"/>
                <a:gd name="T51" fmla="*/ 47 h 110"/>
                <a:gd name="T52" fmla="*/ 556 w 1170"/>
                <a:gd name="T53" fmla="*/ 40 h 110"/>
                <a:gd name="T54" fmla="*/ 548 w 1170"/>
                <a:gd name="T55" fmla="*/ 87 h 110"/>
                <a:gd name="T56" fmla="*/ 552 w 1170"/>
                <a:gd name="T57" fmla="*/ 76 h 110"/>
                <a:gd name="T58" fmla="*/ 632 w 1170"/>
                <a:gd name="T59" fmla="*/ 69 h 110"/>
                <a:gd name="T60" fmla="*/ 629 w 1170"/>
                <a:gd name="T61" fmla="*/ 31 h 110"/>
                <a:gd name="T62" fmla="*/ 611 w 1170"/>
                <a:gd name="T63" fmla="*/ 75 h 110"/>
                <a:gd name="T64" fmla="*/ 684 w 1170"/>
                <a:gd name="T65" fmla="*/ 69 h 110"/>
                <a:gd name="T66" fmla="*/ 680 w 1170"/>
                <a:gd name="T67" fmla="*/ 31 h 110"/>
                <a:gd name="T68" fmla="*/ 663 w 1170"/>
                <a:gd name="T69" fmla="*/ 75 h 110"/>
                <a:gd name="T70" fmla="*/ 743 w 1170"/>
                <a:gd name="T71" fmla="*/ 56 h 110"/>
                <a:gd name="T72" fmla="*/ 741 w 1170"/>
                <a:gd name="T73" fmla="*/ 70 h 110"/>
                <a:gd name="T74" fmla="*/ 727 w 1170"/>
                <a:gd name="T75" fmla="*/ 52 h 110"/>
                <a:gd name="T76" fmla="*/ 783 w 1170"/>
                <a:gd name="T77" fmla="*/ 28 h 110"/>
                <a:gd name="T78" fmla="*/ 756 w 1170"/>
                <a:gd name="T79" fmla="*/ 43 h 110"/>
                <a:gd name="T80" fmla="*/ 789 w 1170"/>
                <a:gd name="T81" fmla="*/ 41 h 110"/>
                <a:gd name="T82" fmla="*/ 805 w 1170"/>
                <a:gd name="T83" fmla="*/ 79 h 110"/>
                <a:gd name="T84" fmla="*/ 843 w 1170"/>
                <a:gd name="T85" fmla="*/ 9 h 110"/>
                <a:gd name="T86" fmla="*/ 900 w 1170"/>
                <a:gd name="T87" fmla="*/ 58 h 110"/>
                <a:gd name="T88" fmla="*/ 916 w 1170"/>
                <a:gd name="T89" fmla="*/ 61 h 110"/>
                <a:gd name="T90" fmla="*/ 924 w 1170"/>
                <a:gd name="T91" fmla="*/ 39 h 110"/>
                <a:gd name="T92" fmla="*/ 978 w 1170"/>
                <a:gd name="T93" fmla="*/ 28 h 110"/>
                <a:gd name="T94" fmla="*/ 977 w 1170"/>
                <a:gd name="T95" fmla="*/ 86 h 110"/>
                <a:gd name="T96" fmla="*/ 990 w 1170"/>
                <a:gd name="T97" fmla="*/ 75 h 110"/>
                <a:gd name="T98" fmla="*/ 1075 w 1170"/>
                <a:gd name="T99" fmla="*/ 56 h 110"/>
                <a:gd name="T100" fmla="*/ 1073 w 1170"/>
                <a:gd name="T101" fmla="*/ 70 h 110"/>
                <a:gd name="T102" fmla="*/ 1060 w 1170"/>
                <a:gd name="T103" fmla="*/ 52 h 110"/>
                <a:gd name="T104" fmla="*/ 1138 w 1170"/>
                <a:gd name="T105" fmla="*/ 47 h 110"/>
                <a:gd name="T106" fmla="*/ 1088 w 1170"/>
                <a:gd name="T107" fmla="*/ 29 h 110"/>
                <a:gd name="T108" fmla="*/ 1116 w 1170"/>
                <a:gd name="T109" fmla="*/ 41 h 110"/>
                <a:gd name="T110" fmla="*/ 1160 w 1170"/>
                <a:gd name="T111" fmla="*/ 7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0" h="110">
                  <a:moveTo>
                    <a:pt x="49" y="86"/>
                  </a:moveTo>
                  <a:lnTo>
                    <a:pt x="49" y="72"/>
                  </a:lnTo>
                  <a:lnTo>
                    <a:pt x="16" y="72"/>
                  </a:lnTo>
                  <a:lnTo>
                    <a:pt x="16" y="53"/>
                  </a:lnTo>
                  <a:lnTo>
                    <a:pt x="43" y="53"/>
                  </a:lnTo>
                  <a:lnTo>
                    <a:pt x="43" y="39"/>
                  </a:lnTo>
                  <a:lnTo>
                    <a:pt x="16" y="39"/>
                  </a:lnTo>
                  <a:lnTo>
                    <a:pt x="16" y="22"/>
                  </a:lnTo>
                  <a:lnTo>
                    <a:pt x="47" y="22"/>
                  </a:lnTo>
                  <a:lnTo>
                    <a:pt x="48" y="9"/>
                  </a:lnTo>
                  <a:lnTo>
                    <a:pt x="0" y="9"/>
                  </a:lnTo>
                  <a:lnTo>
                    <a:pt x="0" y="86"/>
                  </a:lnTo>
                  <a:lnTo>
                    <a:pt x="49" y="86"/>
                  </a:lnTo>
                  <a:close/>
                  <a:moveTo>
                    <a:pt x="111" y="86"/>
                  </a:moveTo>
                  <a:lnTo>
                    <a:pt x="111" y="47"/>
                  </a:lnTo>
                  <a:cubicBezTo>
                    <a:pt x="111" y="42"/>
                    <a:pt x="110" y="38"/>
                    <a:pt x="108" y="34"/>
                  </a:cubicBezTo>
                  <a:cubicBezTo>
                    <a:pt x="105" y="30"/>
                    <a:pt x="100" y="27"/>
                    <a:pt x="94" y="28"/>
                  </a:cubicBezTo>
                  <a:cubicBezTo>
                    <a:pt x="88" y="29"/>
                    <a:pt x="81" y="32"/>
                    <a:pt x="76" y="37"/>
                  </a:cubicBezTo>
                  <a:cubicBezTo>
                    <a:pt x="76" y="34"/>
                    <a:pt x="76" y="32"/>
                    <a:pt x="75" y="29"/>
                  </a:cubicBezTo>
                  <a:lnTo>
                    <a:pt x="61" y="29"/>
                  </a:lnTo>
                  <a:cubicBezTo>
                    <a:pt x="61" y="29"/>
                    <a:pt x="62" y="36"/>
                    <a:pt x="62" y="43"/>
                  </a:cubicBezTo>
                  <a:lnTo>
                    <a:pt x="62" y="86"/>
                  </a:lnTo>
                  <a:lnTo>
                    <a:pt x="77" y="86"/>
                  </a:lnTo>
                  <a:lnTo>
                    <a:pt x="77" y="47"/>
                  </a:lnTo>
                  <a:cubicBezTo>
                    <a:pt x="80" y="44"/>
                    <a:pt x="84" y="42"/>
                    <a:pt x="89" y="41"/>
                  </a:cubicBezTo>
                  <a:cubicBezTo>
                    <a:pt x="93" y="41"/>
                    <a:pt x="96" y="42"/>
                    <a:pt x="96" y="48"/>
                  </a:cubicBezTo>
                  <a:lnTo>
                    <a:pt x="96" y="86"/>
                  </a:lnTo>
                  <a:lnTo>
                    <a:pt x="111" y="86"/>
                  </a:lnTo>
                  <a:close/>
                  <a:moveTo>
                    <a:pt x="173" y="56"/>
                  </a:moveTo>
                  <a:cubicBezTo>
                    <a:pt x="173" y="43"/>
                    <a:pt x="168" y="28"/>
                    <a:pt x="149" y="28"/>
                  </a:cubicBezTo>
                  <a:cubicBezTo>
                    <a:pt x="132" y="28"/>
                    <a:pt x="124" y="42"/>
                    <a:pt x="124" y="58"/>
                  </a:cubicBezTo>
                  <a:cubicBezTo>
                    <a:pt x="124" y="68"/>
                    <a:pt x="127" y="87"/>
                    <a:pt x="148" y="87"/>
                  </a:cubicBezTo>
                  <a:cubicBezTo>
                    <a:pt x="156" y="87"/>
                    <a:pt x="165" y="85"/>
                    <a:pt x="172" y="81"/>
                  </a:cubicBezTo>
                  <a:lnTo>
                    <a:pt x="172" y="70"/>
                  </a:lnTo>
                  <a:cubicBezTo>
                    <a:pt x="165" y="73"/>
                    <a:pt x="158" y="75"/>
                    <a:pt x="150" y="75"/>
                  </a:cubicBezTo>
                  <a:cubicBezTo>
                    <a:pt x="144" y="75"/>
                    <a:pt x="140" y="71"/>
                    <a:pt x="140" y="61"/>
                  </a:cubicBezTo>
                  <a:lnTo>
                    <a:pt x="173" y="61"/>
                  </a:lnTo>
                  <a:cubicBezTo>
                    <a:pt x="173" y="61"/>
                    <a:pt x="173" y="57"/>
                    <a:pt x="173" y="56"/>
                  </a:cubicBezTo>
                  <a:moveTo>
                    <a:pt x="158" y="52"/>
                  </a:moveTo>
                  <a:lnTo>
                    <a:pt x="140" y="52"/>
                  </a:lnTo>
                  <a:cubicBezTo>
                    <a:pt x="140" y="47"/>
                    <a:pt x="142" y="39"/>
                    <a:pt x="149" y="39"/>
                  </a:cubicBezTo>
                  <a:cubicBezTo>
                    <a:pt x="157" y="39"/>
                    <a:pt x="158" y="47"/>
                    <a:pt x="158" y="52"/>
                  </a:cubicBezTo>
                  <a:moveTo>
                    <a:pt x="220" y="29"/>
                  </a:moveTo>
                  <a:cubicBezTo>
                    <a:pt x="220" y="29"/>
                    <a:pt x="220" y="28"/>
                    <a:pt x="214" y="28"/>
                  </a:cubicBezTo>
                  <a:cubicBezTo>
                    <a:pt x="209" y="29"/>
                    <a:pt x="205" y="31"/>
                    <a:pt x="203" y="35"/>
                  </a:cubicBezTo>
                  <a:cubicBezTo>
                    <a:pt x="202" y="35"/>
                    <a:pt x="202" y="35"/>
                    <a:pt x="202" y="36"/>
                  </a:cubicBezTo>
                  <a:cubicBezTo>
                    <a:pt x="202" y="33"/>
                    <a:pt x="201" y="31"/>
                    <a:pt x="201" y="29"/>
                  </a:cubicBezTo>
                  <a:lnTo>
                    <a:pt x="186" y="29"/>
                  </a:lnTo>
                  <a:cubicBezTo>
                    <a:pt x="187" y="34"/>
                    <a:pt x="187" y="38"/>
                    <a:pt x="187" y="43"/>
                  </a:cubicBezTo>
                  <a:lnTo>
                    <a:pt x="187" y="86"/>
                  </a:lnTo>
                  <a:lnTo>
                    <a:pt x="202" y="86"/>
                  </a:lnTo>
                  <a:lnTo>
                    <a:pt x="202" y="46"/>
                  </a:lnTo>
                  <a:cubicBezTo>
                    <a:pt x="205" y="43"/>
                    <a:pt x="208" y="41"/>
                    <a:pt x="212" y="41"/>
                  </a:cubicBezTo>
                  <a:cubicBezTo>
                    <a:pt x="214" y="41"/>
                    <a:pt x="217" y="41"/>
                    <a:pt x="219" y="41"/>
                  </a:cubicBezTo>
                  <a:lnTo>
                    <a:pt x="220" y="29"/>
                  </a:lnTo>
                  <a:close/>
                  <a:moveTo>
                    <a:pt x="281" y="29"/>
                  </a:moveTo>
                  <a:lnTo>
                    <a:pt x="266" y="29"/>
                  </a:lnTo>
                  <a:cubicBezTo>
                    <a:pt x="266" y="30"/>
                    <a:pt x="266" y="31"/>
                    <a:pt x="266" y="33"/>
                  </a:cubicBezTo>
                  <a:cubicBezTo>
                    <a:pt x="262" y="30"/>
                    <a:pt x="257" y="28"/>
                    <a:pt x="252" y="28"/>
                  </a:cubicBezTo>
                  <a:cubicBezTo>
                    <a:pt x="236" y="28"/>
                    <a:pt x="229" y="40"/>
                    <a:pt x="229" y="57"/>
                  </a:cubicBezTo>
                  <a:cubicBezTo>
                    <a:pt x="229" y="68"/>
                    <a:pt x="232" y="86"/>
                    <a:pt x="249" y="86"/>
                  </a:cubicBezTo>
                  <a:cubicBezTo>
                    <a:pt x="255" y="86"/>
                    <a:pt x="261" y="83"/>
                    <a:pt x="265" y="78"/>
                  </a:cubicBezTo>
                  <a:cubicBezTo>
                    <a:pt x="265" y="78"/>
                    <a:pt x="265" y="82"/>
                    <a:pt x="265" y="83"/>
                  </a:cubicBezTo>
                  <a:lnTo>
                    <a:pt x="265" y="87"/>
                  </a:lnTo>
                  <a:cubicBezTo>
                    <a:pt x="265" y="88"/>
                    <a:pt x="264" y="90"/>
                    <a:pt x="264" y="91"/>
                  </a:cubicBezTo>
                  <a:cubicBezTo>
                    <a:pt x="263" y="95"/>
                    <a:pt x="260" y="97"/>
                    <a:pt x="254" y="97"/>
                  </a:cubicBezTo>
                  <a:cubicBezTo>
                    <a:pt x="246" y="97"/>
                    <a:pt x="239" y="95"/>
                    <a:pt x="232" y="92"/>
                  </a:cubicBezTo>
                  <a:lnTo>
                    <a:pt x="231" y="106"/>
                  </a:lnTo>
                  <a:cubicBezTo>
                    <a:pt x="238" y="109"/>
                    <a:pt x="246" y="110"/>
                    <a:pt x="254" y="110"/>
                  </a:cubicBezTo>
                  <a:cubicBezTo>
                    <a:pt x="268" y="110"/>
                    <a:pt x="277" y="105"/>
                    <a:pt x="279" y="94"/>
                  </a:cubicBezTo>
                  <a:cubicBezTo>
                    <a:pt x="280" y="91"/>
                    <a:pt x="280" y="88"/>
                    <a:pt x="280" y="85"/>
                  </a:cubicBezTo>
                  <a:lnTo>
                    <a:pt x="280" y="43"/>
                  </a:lnTo>
                  <a:cubicBezTo>
                    <a:pt x="280" y="36"/>
                    <a:pt x="281" y="29"/>
                    <a:pt x="281" y="29"/>
                  </a:cubicBezTo>
                  <a:moveTo>
                    <a:pt x="265" y="67"/>
                  </a:moveTo>
                  <a:cubicBezTo>
                    <a:pt x="262" y="71"/>
                    <a:pt x="258" y="73"/>
                    <a:pt x="253" y="73"/>
                  </a:cubicBezTo>
                  <a:cubicBezTo>
                    <a:pt x="246" y="73"/>
                    <a:pt x="244" y="63"/>
                    <a:pt x="244" y="57"/>
                  </a:cubicBezTo>
                  <a:cubicBezTo>
                    <a:pt x="244" y="51"/>
                    <a:pt x="245" y="40"/>
                    <a:pt x="254" y="40"/>
                  </a:cubicBezTo>
                  <a:cubicBezTo>
                    <a:pt x="258" y="40"/>
                    <a:pt x="261" y="41"/>
                    <a:pt x="265" y="43"/>
                  </a:cubicBezTo>
                  <a:lnTo>
                    <a:pt x="265" y="67"/>
                  </a:lnTo>
                  <a:close/>
                  <a:moveTo>
                    <a:pt x="312" y="10"/>
                  </a:moveTo>
                  <a:cubicBezTo>
                    <a:pt x="312" y="5"/>
                    <a:pt x="308" y="0"/>
                    <a:pt x="302" y="0"/>
                  </a:cubicBezTo>
                  <a:cubicBezTo>
                    <a:pt x="290" y="0"/>
                    <a:pt x="290" y="19"/>
                    <a:pt x="302" y="19"/>
                  </a:cubicBezTo>
                  <a:cubicBezTo>
                    <a:pt x="307" y="19"/>
                    <a:pt x="312" y="15"/>
                    <a:pt x="312" y="10"/>
                  </a:cubicBezTo>
                  <a:close/>
                  <a:moveTo>
                    <a:pt x="310" y="86"/>
                  </a:moveTo>
                  <a:lnTo>
                    <a:pt x="310" y="41"/>
                  </a:lnTo>
                  <a:cubicBezTo>
                    <a:pt x="310" y="37"/>
                    <a:pt x="310" y="33"/>
                    <a:pt x="309" y="29"/>
                  </a:cubicBezTo>
                  <a:lnTo>
                    <a:pt x="295" y="29"/>
                  </a:lnTo>
                  <a:lnTo>
                    <a:pt x="295" y="86"/>
                  </a:lnTo>
                  <a:lnTo>
                    <a:pt x="310" y="86"/>
                  </a:lnTo>
                  <a:close/>
                  <a:moveTo>
                    <a:pt x="372" y="56"/>
                  </a:moveTo>
                  <a:cubicBezTo>
                    <a:pt x="372" y="43"/>
                    <a:pt x="367" y="28"/>
                    <a:pt x="348" y="28"/>
                  </a:cubicBezTo>
                  <a:cubicBezTo>
                    <a:pt x="331" y="28"/>
                    <a:pt x="323" y="42"/>
                    <a:pt x="323" y="58"/>
                  </a:cubicBezTo>
                  <a:cubicBezTo>
                    <a:pt x="323" y="68"/>
                    <a:pt x="326" y="87"/>
                    <a:pt x="347" y="87"/>
                  </a:cubicBezTo>
                  <a:cubicBezTo>
                    <a:pt x="355" y="87"/>
                    <a:pt x="364" y="85"/>
                    <a:pt x="371" y="81"/>
                  </a:cubicBezTo>
                  <a:lnTo>
                    <a:pt x="371" y="69"/>
                  </a:lnTo>
                  <a:cubicBezTo>
                    <a:pt x="364" y="73"/>
                    <a:pt x="357" y="75"/>
                    <a:pt x="349" y="75"/>
                  </a:cubicBezTo>
                  <a:cubicBezTo>
                    <a:pt x="342" y="75"/>
                    <a:pt x="339" y="71"/>
                    <a:pt x="339" y="61"/>
                  </a:cubicBezTo>
                  <a:lnTo>
                    <a:pt x="372" y="61"/>
                  </a:lnTo>
                  <a:cubicBezTo>
                    <a:pt x="372" y="61"/>
                    <a:pt x="372" y="57"/>
                    <a:pt x="372" y="56"/>
                  </a:cubicBezTo>
                  <a:moveTo>
                    <a:pt x="357" y="52"/>
                  </a:moveTo>
                  <a:lnTo>
                    <a:pt x="339" y="52"/>
                  </a:lnTo>
                  <a:cubicBezTo>
                    <a:pt x="339" y="47"/>
                    <a:pt x="341" y="39"/>
                    <a:pt x="348" y="39"/>
                  </a:cubicBezTo>
                  <a:cubicBezTo>
                    <a:pt x="356" y="39"/>
                    <a:pt x="357" y="47"/>
                    <a:pt x="357" y="52"/>
                  </a:cubicBezTo>
                  <a:moveTo>
                    <a:pt x="403" y="79"/>
                  </a:moveTo>
                  <a:cubicBezTo>
                    <a:pt x="402" y="67"/>
                    <a:pt x="385" y="67"/>
                    <a:pt x="384" y="79"/>
                  </a:cubicBezTo>
                  <a:cubicBezTo>
                    <a:pt x="384" y="84"/>
                    <a:pt x="388" y="88"/>
                    <a:pt x="394" y="87"/>
                  </a:cubicBezTo>
                  <a:cubicBezTo>
                    <a:pt x="399" y="88"/>
                    <a:pt x="403" y="84"/>
                    <a:pt x="403" y="79"/>
                  </a:cubicBezTo>
                  <a:close/>
                  <a:moveTo>
                    <a:pt x="525" y="10"/>
                  </a:moveTo>
                  <a:lnTo>
                    <a:pt x="509" y="9"/>
                  </a:lnTo>
                  <a:lnTo>
                    <a:pt x="500" y="46"/>
                  </a:lnTo>
                  <a:cubicBezTo>
                    <a:pt x="499" y="52"/>
                    <a:pt x="497" y="63"/>
                    <a:pt x="497" y="65"/>
                  </a:cubicBezTo>
                  <a:cubicBezTo>
                    <a:pt x="496" y="63"/>
                    <a:pt x="494" y="52"/>
                    <a:pt x="493" y="46"/>
                  </a:cubicBezTo>
                  <a:lnTo>
                    <a:pt x="485" y="9"/>
                  </a:lnTo>
                  <a:lnTo>
                    <a:pt x="468" y="9"/>
                  </a:lnTo>
                  <a:lnTo>
                    <a:pt x="460" y="46"/>
                  </a:lnTo>
                  <a:cubicBezTo>
                    <a:pt x="458" y="52"/>
                    <a:pt x="457" y="62"/>
                    <a:pt x="456" y="65"/>
                  </a:cubicBezTo>
                  <a:cubicBezTo>
                    <a:pt x="456" y="62"/>
                    <a:pt x="454" y="52"/>
                    <a:pt x="453" y="46"/>
                  </a:cubicBezTo>
                  <a:lnTo>
                    <a:pt x="444" y="8"/>
                  </a:lnTo>
                  <a:lnTo>
                    <a:pt x="427" y="9"/>
                  </a:lnTo>
                  <a:lnTo>
                    <a:pt x="448" y="86"/>
                  </a:lnTo>
                  <a:lnTo>
                    <a:pt x="464" y="86"/>
                  </a:lnTo>
                  <a:lnTo>
                    <a:pt x="472" y="51"/>
                  </a:lnTo>
                  <a:cubicBezTo>
                    <a:pt x="473" y="45"/>
                    <a:pt x="476" y="31"/>
                    <a:pt x="476" y="31"/>
                  </a:cubicBezTo>
                  <a:cubicBezTo>
                    <a:pt x="476" y="31"/>
                    <a:pt x="479" y="45"/>
                    <a:pt x="480" y="51"/>
                  </a:cubicBezTo>
                  <a:lnTo>
                    <a:pt x="488" y="86"/>
                  </a:lnTo>
                  <a:lnTo>
                    <a:pt x="505" y="86"/>
                  </a:lnTo>
                  <a:lnTo>
                    <a:pt x="525" y="10"/>
                  </a:lnTo>
                  <a:close/>
                  <a:moveTo>
                    <a:pt x="578" y="86"/>
                  </a:moveTo>
                  <a:cubicBezTo>
                    <a:pt x="578" y="82"/>
                    <a:pt x="577" y="78"/>
                    <a:pt x="577" y="74"/>
                  </a:cubicBezTo>
                  <a:lnTo>
                    <a:pt x="577" y="47"/>
                  </a:lnTo>
                  <a:cubicBezTo>
                    <a:pt x="578" y="42"/>
                    <a:pt x="577" y="37"/>
                    <a:pt x="574" y="33"/>
                  </a:cubicBezTo>
                  <a:cubicBezTo>
                    <a:pt x="570" y="29"/>
                    <a:pt x="564" y="27"/>
                    <a:pt x="559" y="28"/>
                  </a:cubicBezTo>
                  <a:cubicBezTo>
                    <a:pt x="551" y="28"/>
                    <a:pt x="543" y="30"/>
                    <a:pt x="535" y="33"/>
                  </a:cubicBezTo>
                  <a:lnTo>
                    <a:pt x="536" y="45"/>
                  </a:lnTo>
                  <a:cubicBezTo>
                    <a:pt x="542" y="42"/>
                    <a:pt x="549" y="40"/>
                    <a:pt x="556" y="40"/>
                  </a:cubicBezTo>
                  <a:cubicBezTo>
                    <a:pt x="561" y="40"/>
                    <a:pt x="562" y="42"/>
                    <a:pt x="562" y="46"/>
                  </a:cubicBezTo>
                  <a:lnTo>
                    <a:pt x="562" y="52"/>
                  </a:lnTo>
                  <a:cubicBezTo>
                    <a:pt x="553" y="52"/>
                    <a:pt x="545" y="54"/>
                    <a:pt x="537" y="58"/>
                  </a:cubicBezTo>
                  <a:cubicBezTo>
                    <a:pt x="533" y="61"/>
                    <a:pt x="531" y="65"/>
                    <a:pt x="532" y="70"/>
                  </a:cubicBezTo>
                  <a:cubicBezTo>
                    <a:pt x="531" y="79"/>
                    <a:pt x="538" y="87"/>
                    <a:pt x="548" y="87"/>
                  </a:cubicBezTo>
                  <a:cubicBezTo>
                    <a:pt x="553" y="87"/>
                    <a:pt x="559" y="84"/>
                    <a:pt x="563" y="81"/>
                  </a:cubicBezTo>
                  <a:cubicBezTo>
                    <a:pt x="563" y="82"/>
                    <a:pt x="563" y="84"/>
                    <a:pt x="564" y="86"/>
                  </a:cubicBezTo>
                  <a:lnTo>
                    <a:pt x="578" y="86"/>
                  </a:lnTo>
                  <a:close/>
                  <a:moveTo>
                    <a:pt x="562" y="71"/>
                  </a:moveTo>
                  <a:cubicBezTo>
                    <a:pt x="559" y="74"/>
                    <a:pt x="556" y="75"/>
                    <a:pt x="552" y="76"/>
                  </a:cubicBezTo>
                  <a:cubicBezTo>
                    <a:pt x="548" y="76"/>
                    <a:pt x="547" y="72"/>
                    <a:pt x="547" y="69"/>
                  </a:cubicBezTo>
                  <a:cubicBezTo>
                    <a:pt x="547" y="67"/>
                    <a:pt x="547" y="65"/>
                    <a:pt x="549" y="64"/>
                  </a:cubicBezTo>
                  <a:cubicBezTo>
                    <a:pt x="553" y="62"/>
                    <a:pt x="557" y="60"/>
                    <a:pt x="562" y="61"/>
                  </a:cubicBezTo>
                  <a:lnTo>
                    <a:pt x="562" y="71"/>
                  </a:lnTo>
                  <a:close/>
                  <a:moveTo>
                    <a:pt x="632" y="69"/>
                  </a:moveTo>
                  <a:cubicBezTo>
                    <a:pt x="632" y="55"/>
                    <a:pt x="619" y="53"/>
                    <a:pt x="610" y="49"/>
                  </a:cubicBezTo>
                  <a:cubicBezTo>
                    <a:pt x="608" y="48"/>
                    <a:pt x="606" y="47"/>
                    <a:pt x="606" y="44"/>
                  </a:cubicBezTo>
                  <a:cubicBezTo>
                    <a:pt x="606" y="42"/>
                    <a:pt x="607" y="40"/>
                    <a:pt x="611" y="40"/>
                  </a:cubicBezTo>
                  <a:cubicBezTo>
                    <a:pt x="617" y="40"/>
                    <a:pt x="623" y="41"/>
                    <a:pt x="628" y="44"/>
                  </a:cubicBezTo>
                  <a:lnTo>
                    <a:pt x="629" y="31"/>
                  </a:lnTo>
                  <a:cubicBezTo>
                    <a:pt x="623" y="29"/>
                    <a:pt x="618" y="28"/>
                    <a:pt x="612" y="28"/>
                  </a:cubicBezTo>
                  <a:cubicBezTo>
                    <a:pt x="601" y="27"/>
                    <a:pt x="591" y="35"/>
                    <a:pt x="591" y="46"/>
                  </a:cubicBezTo>
                  <a:cubicBezTo>
                    <a:pt x="591" y="58"/>
                    <a:pt x="604" y="61"/>
                    <a:pt x="612" y="65"/>
                  </a:cubicBezTo>
                  <a:cubicBezTo>
                    <a:pt x="615" y="66"/>
                    <a:pt x="617" y="67"/>
                    <a:pt x="617" y="70"/>
                  </a:cubicBezTo>
                  <a:cubicBezTo>
                    <a:pt x="617" y="73"/>
                    <a:pt x="615" y="75"/>
                    <a:pt x="611" y="75"/>
                  </a:cubicBezTo>
                  <a:cubicBezTo>
                    <a:pt x="604" y="74"/>
                    <a:pt x="597" y="72"/>
                    <a:pt x="591" y="69"/>
                  </a:cubicBezTo>
                  <a:lnTo>
                    <a:pt x="590" y="83"/>
                  </a:lnTo>
                  <a:cubicBezTo>
                    <a:pt x="597" y="86"/>
                    <a:pt x="604" y="87"/>
                    <a:pt x="611" y="88"/>
                  </a:cubicBezTo>
                  <a:cubicBezTo>
                    <a:pt x="622" y="89"/>
                    <a:pt x="632" y="80"/>
                    <a:pt x="632" y="69"/>
                  </a:cubicBezTo>
                  <a:moveTo>
                    <a:pt x="684" y="69"/>
                  </a:moveTo>
                  <a:cubicBezTo>
                    <a:pt x="684" y="55"/>
                    <a:pt x="671" y="53"/>
                    <a:pt x="661" y="49"/>
                  </a:cubicBezTo>
                  <a:cubicBezTo>
                    <a:pt x="659" y="48"/>
                    <a:pt x="657" y="47"/>
                    <a:pt x="657" y="45"/>
                  </a:cubicBezTo>
                  <a:cubicBezTo>
                    <a:pt x="657" y="43"/>
                    <a:pt x="659" y="40"/>
                    <a:pt x="663" y="40"/>
                  </a:cubicBezTo>
                  <a:cubicBezTo>
                    <a:pt x="669" y="40"/>
                    <a:pt x="674" y="42"/>
                    <a:pt x="680" y="44"/>
                  </a:cubicBezTo>
                  <a:lnTo>
                    <a:pt x="680" y="31"/>
                  </a:lnTo>
                  <a:cubicBezTo>
                    <a:pt x="675" y="29"/>
                    <a:pt x="669" y="28"/>
                    <a:pt x="663" y="28"/>
                  </a:cubicBezTo>
                  <a:cubicBezTo>
                    <a:pt x="652" y="27"/>
                    <a:pt x="643" y="35"/>
                    <a:pt x="642" y="46"/>
                  </a:cubicBezTo>
                  <a:cubicBezTo>
                    <a:pt x="642" y="58"/>
                    <a:pt x="655" y="61"/>
                    <a:pt x="664" y="65"/>
                  </a:cubicBezTo>
                  <a:cubicBezTo>
                    <a:pt x="667" y="66"/>
                    <a:pt x="669" y="67"/>
                    <a:pt x="669" y="70"/>
                  </a:cubicBezTo>
                  <a:cubicBezTo>
                    <a:pt x="669" y="73"/>
                    <a:pt x="666" y="75"/>
                    <a:pt x="663" y="75"/>
                  </a:cubicBezTo>
                  <a:cubicBezTo>
                    <a:pt x="656" y="74"/>
                    <a:pt x="649" y="72"/>
                    <a:pt x="643" y="69"/>
                  </a:cubicBezTo>
                  <a:lnTo>
                    <a:pt x="642" y="83"/>
                  </a:lnTo>
                  <a:cubicBezTo>
                    <a:pt x="648" y="86"/>
                    <a:pt x="655" y="87"/>
                    <a:pt x="662" y="88"/>
                  </a:cubicBezTo>
                  <a:cubicBezTo>
                    <a:pt x="673" y="89"/>
                    <a:pt x="683" y="80"/>
                    <a:pt x="684" y="69"/>
                  </a:cubicBezTo>
                  <a:moveTo>
                    <a:pt x="743" y="56"/>
                  </a:moveTo>
                  <a:cubicBezTo>
                    <a:pt x="743" y="43"/>
                    <a:pt x="737" y="28"/>
                    <a:pt x="718" y="28"/>
                  </a:cubicBezTo>
                  <a:cubicBezTo>
                    <a:pt x="701" y="28"/>
                    <a:pt x="693" y="43"/>
                    <a:pt x="693" y="58"/>
                  </a:cubicBezTo>
                  <a:cubicBezTo>
                    <a:pt x="693" y="68"/>
                    <a:pt x="697" y="87"/>
                    <a:pt x="717" y="87"/>
                  </a:cubicBezTo>
                  <a:cubicBezTo>
                    <a:pt x="726" y="88"/>
                    <a:pt x="734" y="86"/>
                    <a:pt x="742" y="81"/>
                  </a:cubicBezTo>
                  <a:lnTo>
                    <a:pt x="741" y="70"/>
                  </a:lnTo>
                  <a:cubicBezTo>
                    <a:pt x="734" y="73"/>
                    <a:pt x="727" y="75"/>
                    <a:pt x="720" y="76"/>
                  </a:cubicBezTo>
                  <a:cubicBezTo>
                    <a:pt x="713" y="76"/>
                    <a:pt x="709" y="71"/>
                    <a:pt x="709" y="61"/>
                  </a:cubicBezTo>
                  <a:lnTo>
                    <a:pt x="742" y="61"/>
                  </a:lnTo>
                  <a:cubicBezTo>
                    <a:pt x="742" y="61"/>
                    <a:pt x="743" y="57"/>
                    <a:pt x="743" y="56"/>
                  </a:cubicBezTo>
                  <a:moveTo>
                    <a:pt x="727" y="52"/>
                  </a:moveTo>
                  <a:lnTo>
                    <a:pt x="710" y="52"/>
                  </a:lnTo>
                  <a:cubicBezTo>
                    <a:pt x="710" y="47"/>
                    <a:pt x="711" y="39"/>
                    <a:pt x="718" y="39"/>
                  </a:cubicBezTo>
                  <a:cubicBezTo>
                    <a:pt x="726" y="39"/>
                    <a:pt x="727" y="47"/>
                    <a:pt x="727" y="52"/>
                  </a:cubicBezTo>
                  <a:close/>
                  <a:moveTo>
                    <a:pt x="790" y="29"/>
                  </a:moveTo>
                  <a:cubicBezTo>
                    <a:pt x="790" y="29"/>
                    <a:pt x="789" y="28"/>
                    <a:pt x="783" y="28"/>
                  </a:cubicBezTo>
                  <a:cubicBezTo>
                    <a:pt x="779" y="29"/>
                    <a:pt x="775" y="31"/>
                    <a:pt x="772" y="35"/>
                  </a:cubicBezTo>
                  <a:cubicBezTo>
                    <a:pt x="772" y="35"/>
                    <a:pt x="771" y="35"/>
                    <a:pt x="771" y="36"/>
                  </a:cubicBezTo>
                  <a:cubicBezTo>
                    <a:pt x="771" y="34"/>
                    <a:pt x="771" y="31"/>
                    <a:pt x="770" y="29"/>
                  </a:cubicBezTo>
                  <a:lnTo>
                    <a:pt x="756" y="29"/>
                  </a:lnTo>
                  <a:cubicBezTo>
                    <a:pt x="756" y="34"/>
                    <a:pt x="756" y="38"/>
                    <a:pt x="756" y="43"/>
                  </a:cubicBezTo>
                  <a:lnTo>
                    <a:pt x="756" y="86"/>
                  </a:lnTo>
                  <a:lnTo>
                    <a:pt x="772" y="86"/>
                  </a:lnTo>
                  <a:lnTo>
                    <a:pt x="772" y="46"/>
                  </a:lnTo>
                  <a:cubicBezTo>
                    <a:pt x="774" y="43"/>
                    <a:pt x="777" y="42"/>
                    <a:pt x="781" y="41"/>
                  </a:cubicBezTo>
                  <a:cubicBezTo>
                    <a:pt x="784" y="41"/>
                    <a:pt x="786" y="41"/>
                    <a:pt x="789" y="41"/>
                  </a:cubicBezTo>
                  <a:lnTo>
                    <a:pt x="790" y="29"/>
                  </a:lnTo>
                  <a:close/>
                  <a:moveTo>
                    <a:pt x="805" y="79"/>
                  </a:moveTo>
                  <a:cubicBezTo>
                    <a:pt x="804" y="67"/>
                    <a:pt x="787" y="67"/>
                    <a:pt x="786" y="79"/>
                  </a:cubicBezTo>
                  <a:cubicBezTo>
                    <a:pt x="786" y="84"/>
                    <a:pt x="790" y="88"/>
                    <a:pt x="796" y="88"/>
                  </a:cubicBezTo>
                  <a:cubicBezTo>
                    <a:pt x="801" y="88"/>
                    <a:pt x="805" y="84"/>
                    <a:pt x="805" y="79"/>
                  </a:cubicBezTo>
                  <a:moveTo>
                    <a:pt x="891" y="86"/>
                  </a:moveTo>
                  <a:lnTo>
                    <a:pt x="891" y="72"/>
                  </a:lnTo>
                  <a:lnTo>
                    <a:pt x="859" y="72"/>
                  </a:lnTo>
                  <a:lnTo>
                    <a:pt x="859" y="9"/>
                  </a:lnTo>
                  <a:lnTo>
                    <a:pt x="843" y="9"/>
                  </a:lnTo>
                  <a:lnTo>
                    <a:pt x="843" y="86"/>
                  </a:lnTo>
                  <a:lnTo>
                    <a:pt x="891" y="86"/>
                  </a:lnTo>
                  <a:close/>
                  <a:moveTo>
                    <a:pt x="949" y="56"/>
                  </a:moveTo>
                  <a:cubicBezTo>
                    <a:pt x="949" y="43"/>
                    <a:pt x="944" y="28"/>
                    <a:pt x="924" y="28"/>
                  </a:cubicBezTo>
                  <a:cubicBezTo>
                    <a:pt x="907" y="28"/>
                    <a:pt x="900" y="43"/>
                    <a:pt x="900" y="58"/>
                  </a:cubicBezTo>
                  <a:cubicBezTo>
                    <a:pt x="900" y="68"/>
                    <a:pt x="903" y="87"/>
                    <a:pt x="923" y="87"/>
                  </a:cubicBezTo>
                  <a:cubicBezTo>
                    <a:pt x="932" y="88"/>
                    <a:pt x="940" y="86"/>
                    <a:pt x="948" y="81"/>
                  </a:cubicBezTo>
                  <a:lnTo>
                    <a:pt x="947" y="70"/>
                  </a:lnTo>
                  <a:cubicBezTo>
                    <a:pt x="941" y="73"/>
                    <a:pt x="933" y="75"/>
                    <a:pt x="926" y="76"/>
                  </a:cubicBezTo>
                  <a:cubicBezTo>
                    <a:pt x="919" y="76"/>
                    <a:pt x="916" y="71"/>
                    <a:pt x="916" y="61"/>
                  </a:cubicBezTo>
                  <a:lnTo>
                    <a:pt x="949" y="61"/>
                  </a:lnTo>
                  <a:cubicBezTo>
                    <a:pt x="949" y="61"/>
                    <a:pt x="949" y="57"/>
                    <a:pt x="949" y="56"/>
                  </a:cubicBezTo>
                  <a:moveTo>
                    <a:pt x="933" y="52"/>
                  </a:moveTo>
                  <a:lnTo>
                    <a:pt x="916" y="52"/>
                  </a:lnTo>
                  <a:cubicBezTo>
                    <a:pt x="916" y="47"/>
                    <a:pt x="917" y="39"/>
                    <a:pt x="924" y="39"/>
                  </a:cubicBezTo>
                  <a:cubicBezTo>
                    <a:pt x="932" y="39"/>
                    <a:pt x="933" y="47"/>
                    <a:pt x="933" y="52"/>
                  </a:cubicBezTo>
                  <a:close/>
                  <a:moveTo>
                    <a:pt x="1015" y="57"/>
                  </a:moveTo>
                  <a:cubicBezTo>
                    <a:pt x="1015" y="46"/>
                    <a:pt x="1012" y="28"/>
                    <a:pt x="993" y="28"/>
                  </a:cubicBezTo>
                  <a:cubicBezTo>
                    <a:pt x="988" y="28"/>
                    <a:pt x="982" y="30"/>
                    <a:pt x="978" y="34"/>
                  </a:cubicBezTo>
                  <a:cubicBezTo>
                    <a:pt x="978" y="34"/>
                    <a:pt x="978" y="30"/>
                    <a:pt x="978" y="28"/>
                  </a:cubicBezTo>
                  <a:lnTo>
                    <a:pt x="978" y="3"/>
                  </a:lnTo>
                  <a:lnTo>
                    <a:pt x="963" y="4"/>
                  </a:lnTo>
                  <a:lnTo>
                    <a:pt x="963" y="74"/>
                  </a:lnTo>
                  <a:cubicBezTo>
                    <a:pt x="963" y="78"/>
                    <a:pt x="962" y="82"/>
                    <a:pt x="962" y="86"/>
                  </a:cubicBezTo>
                  <a:lnTo>
                    <a:pt x="977" y="86"/>
                  </a:lnTo>
                  <a:cubicBezTo>
                    <a:pt x="977" y="85"/>
                    <a:pt x="977" y="83"/>
                    <a:pt x="977" y="82"/>
                  </a:cubicBezTo>
                  <a:cubicBezTo>
                    <a:pt x="982" y="85"/>
                    <a:pt x="987" y="87"/>
                    <a:pt x="993" y="87"/>
                  </a:cubicBezTo>
                  <a:cubicBezTo>
                    <a:pt x="1007" y="87"/>
                    <a:pt x="1015" y="74"/>
                    <a:pt x="1015" y="57"/>
                  </a:cubicBezTo>
                  <a:moveTo>
                    <a:pt x="999" y="57"/>
                  </a:moveTo>
                  <a:cubicBezTo>
                    <a:pt x="999" y="70"/>
                    <a:pt x="994" y="75"/>
                    <a:pt x="990" y="75"/>
                  </a:cubicBezTo>
                  <a:cubicBezTo>
                    <a:pt x="986" y="75"/>
                    <a:pt x="982" y="73"/>
                    <a:pt x="978" y="71"/>
                  </a:cubicBezTo>
                  <a:lnTo>
                    <a:pt x="978" y="45"/>
                  </a:lnTo>
                  <a:cubicBezTo>
                    <a:pt x="982" y="42"/>
                    <a:pt x="986" y="40"/>
                    <a:pt x="990" y="40"/>
                  </a:cubicBezTo>
                  <a:cubicBezTo>
                    <a:pt x="998" y="40"/>
                    <a:pt x="999" y="51"/>
                    <a:pt x="999" y="57"/>
                  </a:cubicBezTo>
                  <a:moveTo>
                    <a:pt x="1075" y="56"/>
                  </a:moveTo>
                  <a:cubicBezTo>
                    <a:pt x="1075" y="43"/>
                    <a:pt x="1070" y="28"/>
                    <a:pt x="1050" y="28"/>
                  </a:cubicBezTo>
                  <a:cubicBezTo>
                    <a:pt x="1033" y="28"/>
                    <a:pt x="1026" y="43"/>
                    <a:pt x="1026" y="58"/>
                  </a:cubicBezTo>
                  <a:cubicBezTo>
                    <a:pt x="1026" y="68"/>
                    <a:pt x="1029" y="87"/>
                    <a:pt x="1049" y="87"/>
                  </a:cubicBezTo>
                  <a:cubicBezTo>
                    <a:pt x="1058" y="88"/>
                    <a:pt x="1066" y="86"/>
                    <a:pt x="1074" y="81"/>
                  </a:cubicBezTo>
                  <a:lnTo>
                    <a:pt x="1073" y="70"/>
                  </a:lnTo>
                  <a:cubicBezTo>
                    <a:pt x="1067" y="73"/>
                    <a:pt x="1059" y="75"/>
                    <a:pt x="1052" y="76"/>
                  </a:cubicBezTo>
                  <a:cubicBezTo>
                    <a:pt x="1045" y="76"/>
                    <a:pt x="1042" y="71"/>
                    <a:pt x="1042" y="61"/>
                  </a:cubicBezTo>
                  <a:lnTo>
                    <a:pt x="1075" y="61"/>
                  </a:lnTo>
                  <a:cubicBezTo>
                    <a:pt x="1075" y="61"/>
                    <a:pt x="1075" y="57"/>
                    <a:pt x="1075" y="56"/>
                  </a:cubicBezTo>
                  <a:moveTo>
                    <a:pt x="1060" y="52"/>
                  </a:moveTo>
                  <a:lnTo>
                    <a:pt x="1042" y="52"/>
                  </a:lnTo>
                  <a:cubicBezTo>
                    <a:pt x="1042" y="47"/>
                    <a:pt x="1043" y="39"/>
                    <a:pt x="1050" y="39"/>
                  </a:cubicBezTo>
                  <a:cubicBezTo>
                    <a:pt x="1058" y="39"/>
                    <a:pt x="1060" y="47"/>
                    <a:pt x="1060" y="52"/>
                  </a:cubicBezTo>
                  <a:close/>
                  <a:moveTo>
                    <a:pt x="1138" y="86"/>
                  </a:moveTo>
                  <a:lnTo>
                    <a:pt x="1138" y="47"/>
                  </a:lnTo>
                  <a:cubicBezTo>
                    <a:pt x="1139" y="42"/>
                    <a:pt x="1138" y="38"/>
                    <a:pt x="1135" y="34"/>
                  </a:cubicBezTo>
                  <a:cubicBezTo>
                    <a:pt x="1132" y="30"/>
                    <a:pt x="1127" y="27"/>
                    <a:pt x="1121" y="28"/>
                  </a:cubicBezTo>
                  <a:cubicBezTo>
                    <a:pt x="1115" y="29"/>
                    <a:pt x="1108" y="32"/>
                    <a:pt x="1103" y="37"/>
                  </a:cubicBezTo>
                  <a:cubicBezTo>
                    <a:pt x="1103" y="34"/>
                    <a:pt x="1103" y="32"/>
                    <a:pt x="1102" y="29"/>
                  </a:cubicBezTo>
                  <a:lnTo>
                    <a:pt x="1088" y="29"/>
                  </a:lnTo>
                  <a:cubicBezTo>
                    <a:pt x="1088" y="29"/>
                    <a:pt x="1089" y="36"/>
                    <a:pt x="1089" y="43"/>
                  </a:cubicBezTo>
                  <a:lnTo>
                    <a:pt x="1089" y="86"/>
                  </a:lnTo>
                  <a:lnTo>
                    <a:pt x="1104" y="86"/>
                  </a:lnTo>
                  <a:lnTo>
                    <a:pt x="1104" y="48"/>
                  </a:lnTo>
                  <a:cubicBezTo>
                    <a:pt x="1107" y="44"/>
                    <a:pt x="1112" y="42"/>
                    <a:pt x="1116" y="41"/>
                  </a:cubicBezTo>
                  <a:cubicBezTo>
                    <a:pt x="1120" y="41"/>
                    <a:pt x="1123" y="42"/>
                    <a:pt x="1123" y="48"/>
                  </a:cubicBezTo>
                  <a:lnTo>
                    <a:pt x="1123" y="86"/>
                  </a:lnTo>
                  <a:lnTo>
                    <a:pt x="1138" y="86"/>
                  </a:lnTo>
                  <a:close/>
                  <a:moveTo>
                    <a:pt x="1170" y="79"/>
                  </a:moveTo>
                  <a:cubicBezTo>
                    <a:pt x="1170" y="74"/>
                    <a:pt x="1165" y="70"/>
                    <a:pt x="1160" y="70"/>
                  </a:cubicBezTo>
                  <a:cubicBezTo>
                    <a:pt x="1155" y="70"/>
                    <a:pt x="1151" y="74"/>
                    <a:pt x="1151" y="79"/>
                  </a:cubicBezTo>
                  <a:cubicBezTo>
                    <a:pt x="1151" y="84"/>
                    <a:pt x="1155" y="88"/>
                    <a:pt x="1160" y="88"/>
                  </a:cubicBezTo>
                  <a:cubicBezTo>
                    <a:pt x="1165" y="88"/>
                    <a:pt x="1170" y="84"/>
                    <a:pt x="1170" y="79"/>
                  </a:cubicBezTo>
                  <a:close/>
                </a:path>
              </a:pathLst>
            </a:custGeom>
            <a:solidFill>
              <a:srgbClr val="57687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743909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hf hdr="0"/>
  <p:txStyles>
    <p:titleStyle>
      <a:lvl1pPr algn="l" defTabSz="691157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691157" rtl="0" eaLnBrk="1" latinLnBrk="0" hangingPunct="1">
        <a:lnSpc>
          <a:spcPct val="90000"/>
        </a:lnSpc>
        <a:spcBef>
          <a:spcPts val="500"/>
        </a:spcBef>
        <a:spcAft>
          <a:spcPts val="500"/>
        </a:spcAft>
        <a:buClr>
          <a:schemeClr val="bg2"/>
        </a:buClr>
        <a:buFont typeface="Calibri" panose="020F050202020403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360000" algn="l" defTabSz="691157" rtl="0" eaLnBrk="1" latinLnBrk="0" hangingPunct="1">
        <a:lnSpc>
          <a:spcPct val="90000"/>
        </a:lnSpc>
        <a:spcBef>
          <a:spcPts val="500"/>
        </a:spcBef>
        <a:spcAft>
          <a:spcPts val="250"/>
        </a:spcAft>
        <a:buClr>
          <a:schemeClr val="bg2"/>
        </a:buClr>
        <a:buFont typeface="Calibri" panose="020F0502020204030204" pitchFamily="34" charset="0"/>
        <a:buChar char="◦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360000" algn="l" defTabSz="691157" rtl="0" eaLnBrk="1" latinLnBrk="0" hangingPunct="1">
        <a:lnSpc>
          <a:spcPct val="90000"/>
        </a:lnSpc>
        <a:spcBef>
          <a:spcPts val="250"/>
        </a:spcBef>
        <a:spcAft>
          <a:spcPts val="150"/>
        </a:spcAft>
        <a:buClr>
          <a:schemeClr val="tx1"/>
        </a:buClr>
        <a:buFont typeface="Calibri" panose="020F0502020204030204" pitchFamily="34" charset="0"/>
        <a:buChar char="◦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000" indent="-360000" algn="l" defTabSz="691157" rtl="0" eaLnBrk="1" latinLnBrk="0" hangingPunct="1">
        <a:lnSpc>
          <a:spcPct val="90000"/>
        </a:lnSpc>
        <a:spcBef>
          <a:spcPts val="150"/>
        </a:spcBef>
        <a:spcAft>
          <a:spcPts val="0"/>
        </a:spcAft>
        <a:buClr>
          <a:schemeClr val="tx1"/>
        </a:buClr>
        <a:buFont typeface="Calibri" panose="020F050202020403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000" indent="-360000" algn="l" defTabSz="691157" rtl="0" eaLnBrk="1" latinLnBrk="0" hangingPunct="1">
        <a:lnSpc>
          <a:spcPct val="90000"/>
        </a:lnSpc>
        <a:spcBef>
          <a:spcPts val="100"/>
        </a:spcBef>
        <a:buClrTx/>
        <a:buFont typeface="Calibri" panose="020F0502020204030204" pitchFamily="34" charset="0"/>
        <a:buChar char="­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900683" indent="-172790" algn="l" defTabSz="691157" rtl="0" eaLnBrk="1" latinLnBrk="0" hangingPunct="1">
        <a:lnSpc>
          <a:spcPct val="90000"/>
        </a:lnSpc>
        <a:spcBef>
          <a:spcPts val="378"/>
        </a:spcBef>
        <a:buFont typeface="Arial" panose="020B0604020202020204" pitchFamily="34" charset="0"/>
        <a:buChar char="•"/>
        <a:defRPr sz="1360" kern="1200">
          <a:solidFill>
            <a:schemeClr val="tx1"/>
          </a:solidFill>
          <a:latin typeface="+mn-lt"/>
          <a:ea typeface="+mn-ea"/>
          <a:cs typeface="+mn-cs"/>
        </a:defRPr>
      </a:lvl6pPr>
      <a:lvl7pPr marL="2246262" indent="-172790" algn="l" defTabSz="691157" rtl="0" eaLnBrk="1" latinLnBrk="0" hangingPunct="1">
        <a:lnSpc>
          <a:spcPct val="90000"/>
        </a:lnSpc>
        <a:spcBef>
          <a:spcPts val="378"/>
        </a:spcBef>
        <a:buFont typeface="Arial" panose="020B0604020202020204" pitchFamily="34" charset="0"/>
        <a:buChar char="•"/>
        <a:defRPr sz="1360" kern="1200">
          <a:solidFill>
            <a:schemeClr val="tx1"/>
          </a:solidFill>
          <a:latin typeface="+mn-lt"/>
          <a:ea typeface="+mn-ea"/>
          <a:cs typeface="+mn-cs"/>
        </a:defRPr>
      </a:lvl7pPr>
      <a:lvl8pPr marL="2591840" indent="-172790" algn="l" defTabSz="691157" rtl="0" eaLnBrk="1" latinLnBrk="0" hangingPunct="1">
        <a:lnSpc>
          <a:spcPct val="90000"/>
        </a:lnSpc>
        <a:spcBef>
          <a:spcPts val="378"/>
        </a:spcBef>
        <a:buFont typeface="Arial" panose="020B0604020202020204" pitchFamily="34" charset="0"/>
        <a:buChar char="•"/>
        <a:defRPr sz="1360" kern="1200">
          <a:solidFill>
            <a:schemeClr val="tx1"/>
          </a:solidFill>
          <a:latin typeface="+mn-lt"/>
          <a:ea typeface="+mn-ea"/>
          <a:cs typeface="+mn-cs"/>
        </a:defRPr>
      </a:lvl8pPr>
      <a:lvl9pPr marL="2937419" indent="-172790" algn="l" defTabSz="691157" rtl="0" eaLnBrk="1" latinLnBrk="0" hangingPunct="1">
        <a:lnSpc>
          <a:spcPct val="90000"/>
        </a:lnSpc>
        <a:spcBef>
          <a:spcPts val="378"/>
        </a:spcBef>
        <a:buFont typeface="Arial" panose="020B0604020202020204" pitchFamily="34" charset="0"/>
        <a:buChar char="•"/>
        <a:defRPr sz="13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1pPr>
      <a:lvl2pPr marL="345578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2pPr>
      <a:lvl3pPr marL="691157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3pPr>
      <a:lvl4pPr marL="1036735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4pPr>
      <a:lvl5pPr marL="1382316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5pPr>
      <a:lvl6pPr marL="1727893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6pPr>
      <a:lvl7pPr marL="2073473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7pPr>
      <a:lvl8pPr marL="2419051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8pPr>
      <a:lvl9pPr marL="2764630" algn="l" defTabSz="691157" rtl="0" eaLnBrk="1" latinLnBrk="0" hangingPunct="1">
        <a:defRPr sz="13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9" orient="horz" pos="953">
          <p15:clr>
            <a:srgbClr val="F26B43"/>
          </p15:clr>
        </p15:guide>
        <p15:guide id="20" pos="272">
          <p15:clr>
            <a:srgbClr val="F26B43"/>
          </p15:clr>
        </p15:guide>
        <p15:guide id="21" pos="5533">
          <p15:clr>
            <a:srgbClr val="F26B43"/>
          </p15:clr>
        </p15:guide>
        <p15:guide id="22" pos="1451">
          <p15:clr>
            <a:srgbClr val="F26B43"/>
          </p15:clr>
        </p15:guide>
        <p15:guide id="23" pos="1632">
          <p15:clr>
            <a:srgbClr val="F26B43"/>
          </p15:clr>
        </p15:guide>
        <p15:guide id="24" pos="2812">
          <p15:clr>
            <a:srgbClr val="F26B43"/>
          </p15:clr>
        </p15:guide>
        <p15:guide id="25" pos="2993">
          <p15:clr>
            <a:srgbClr val="F26B43"/>
          </p15:clr>
        </p15:guide>
        <p15:guide id="26" pos="4173">
          <p15:clr>
            <a:srgbClr val="F26B43"/>
          </p15:clr>
        </p15:guide>
        <p15:guide id="27" pos="4354">
          <p15:clr>
            <a:srgbClr val="F26B43"/>
          </p15:clr>
        </p15:guide>
        <p15:guide id="28" orient="horz" pos="3130">
          <p15:clr>
            <a:srgbClr val="F26B43"/>
          </p15:clr>
        </p15:guide>
        <p15:guide id="29" orient="horz" pos="363">
          <p15:clr>
            <a:srgbClr val="F26B43"/>
          </p15:clr>
        </p15:guide>
        <p15:guide id="30" orient="horz" pos="1134">
          <p15:clr>
            <a:srgbClr val="F26B43"/>
          </p15:clr>
        </p15:guide>
        <p15:guide id="31" orient="horz" pos="544">
          <p15:clr>
            <a:srgbClr val="F26B43"/>
          </p15:clr>
        </p15:guide>
        <p15:guide id="32" orient="horz" pos="2041">
          <p15:clr>
            <a:srgbClr val="F26B43"/>
          </p15:clr>
        </p15:guide>
        <p15:guide id="33" orient="horz" pos="222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1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7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1.bin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svg"/><Relationship Id="rId11" Type="http://schemas.openxmlformats.org/officeDocument/2006/relationships/image" Target="../media/image13.jpg"/><Relationship Id="rId5" Type="http://schemas.openxmlformats.org/officeDocument/2006/relationships/image" Target="../media/image9.png"/><Relationship Id="rId10" Type="http://schemas.openxmlformats.org/officeDocument/2006/relationships/image" Target="../media/image12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0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png"/><Relationship Id="rId12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11" Type="http://schemas.openxmlformats.org/officeDocument/2006/relationships/image" Target="../media/image12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12" Type="http://schemas.openxmlformats.org/officeDocument/2006/relationships/image" Target="../media/image5.sv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11" Type="http://schemas.openxmlformats.org/officeDocument/2006/relationships/image" Target="../media/image4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0.sv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9.png"/><Relationship Id="rId14" Type="http://schemas.openxmlformats.org/officeDocument/2006/relationships/image" Target="../media/image22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0.sv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wasserversorgung-musterstadt.de/" TargetMode="External"/><Relationship Id="rId12" Type="http://schemas.openxmlformats.org/officeDocument/2006/relationships/image" Target="../media/image9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11" Type="http://schemas.openxmlformats.org/officeDocument/2006/relationships/image" Target="../media/image12.sv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v-muster.de/qualitaet" TargetMode="External"/><Relationship Id="rId13" Type="http://schemas.openxmlformats.org/officeDocument/2006/relationships/image" Target="../media/image10.sv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wvs-muster.de/trinkwasseranalysen" TargetMode="External"/><Relationship Id="rId12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11" Type="http://schemas.openxmlformats.org/officeDocument/2006/relationships/image" Target="../media/image12.sv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6.xml"/><Relationship Id="rId9" Type="http://schemas.openxmlformats.org/officeDocument/2006/relationships/hyperlink" Target="https://www.wv-muster.de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8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Relationship Id="rId9" Type="http://schemas.openxmlformats.org/officeDocument/2006/relationships/image" Target="../media/image3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platzhalter 15">
            <a:extLst>
              <a:ext uri="{FF2B5EF4-FFF2-40B4-BE49-F238E27FC236}">
                <a16:creationId xmlns:a16="http://schemas.microsoft.com/office/drawing/2014/main" id="{A4BA78DE-A0B9-98A6-E1BE-CA089BFCF31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710"/>
          <a:stretch/>
        </p:blipFill>
        <p:spPr>
          <a:xfrm>
            <a:off x="0" y="0"/>
            <a:ext cx="9223200" cy="3024435"/>
          </a:xfrm>
        </p:spPr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504D2953-1758-42AE-9AC7-98E2D7FA6C6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Digitales Informationsportal unterstützt Wasserversorger </a:t>
            </a:r>
            <a:br>
              <a:rPr lang="de-DE" dirty="0"/>
            </a:br>
            <a:r>
              <a:rPr lang="de-DE" dirty="0"/>
              <a:t>bei der Erfüllung ihrer Informationspflichten gemäß TrinkwV</a:t>
            </a:r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736C0CC9-D7FA-446D-9702-B78B5912BE7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Die neue Website wasserportal.info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16F0BB4-7C34-4895-9741-854D03143FD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B9C03AA-46CE-4BFA-937F-8857A5370E11}" type="datetime1">
              <a:rPr lang="de-DE" smtClean="0"/>
              <a:pPr/>
              <a:t>24.11.2022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76B7729-8F12-3FB5-2FBF-475848E045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wasserportal.info: Infoservice für Wasserversorger und ihre Kunden</a:t>
            </a:r>
            <a:endParaRPr lang="de-DE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D6747C5-566B-D032-76A0-A5EBB2814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15ABBCB-2658-4656-B2C4-43A1F658563B}" type="slidenum">
              <a:rPr lang="de-DE" noProof="0" smtClean="0"/>
              <a:pPr/>
              <a:t>1</a:t>
            </a:fld>
            <a:endParaRPr lang="de-DE" noProof="0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34DA09BF-7EEA-5AA5-C335-2B02879D81A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873955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ür Wasserversorger: in drei Schritten zur Nutzung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idx="1"/>
          </p:nvPr>
        </p:nvSpPr>
        <p:spPr>
          <a:xfrm>
            <a:off x="431802" y="1800000"/>
            <a:ext cx="2591165" cy="1008112"/>
          </a:xfrm>
          <a:solidFill>
            <a:srgbClr val="0068AF"/>
          </a:solidFill>
        </p:spPr>
        <p:txBody>
          <a:bodyPr lIns="90000" tIns="90000" bIns="90000"/>
          <a:lstStyle/>
          <a:p>
            <a:pPr marL="0" indent="0">
              <a:buClr>
                <a:schemeClr val="bg1"/>
              </a:buClr>
              <a:buNone/>
            </a:pPr>
            <a:r>
              <a:rPr lang="de-DE" b="1" dirty="0">
                <a:solidFill>
                  <a:schemeClr val="bg1"/>
                </a:solidFill>
              </a:rPr>
              <a:t>Registrieren</a:t>
            </a:r>
            <a:br>
              <a:rPr lang="de-DE" b="1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Mail an den BDEW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0CBD9-D5CD-4453-AE8F-8B3ADAE7ED55}" type="datetime1">
              <a:rPr lang="de-DE" smtClean="0"/>
              <a:t>24.11.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F047C2-1175-4143-8F36-21988CCA1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wasserportal.info: Infoservice für Wasserversorger und ihre Kund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94D56DE-51C3-4BCC-8440-5E9302122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44F12-EB88-474F-BA5E-385A9C5524F3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3" name="Textplatzhalter 24">
            <a:extLst>
              <a:ext uri="{FF2B5EF4-FFF2-40B4-BE49-F238E27FC236}">
                <a16:creationId xmlns:a16="http://schemas.microsoft.com/office/drawing/2014/main" id="{2E9C3791-03E3-B89F-A476-0A7746F9A877}"/>
              </a:ext>
            </a:extLst>
          </p:cNvPr>
          <p:cNvSpPr txBox="1">
            <a:spLocks/>
          </p:cNvSpPr>
          <p:nvPr/>
        </p:nvSpPr>
        <p:spPr>
          <a:xfrm>
            <a:off x="6046209" y="1800000"/>
            <a:ext cx="2737427" cy="1008112"/>
          </a:xfrm>
          <a:prstGeom prst="rect">
            <a:avLst/>
          </a:prstGeom>
          <a:solidFill>
            <a:srgbClr val="0068AF"/>
          </a:solidFill>
        </p:spPr>
        <p:txBody>
          <a:bodyPr vert="horz" lIns="90000" tIns="90000" rIns="90000" bIns="90000" rtlCol="0">
            <a:no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Clr>
                <a:schemeClr val="bg1"/>
              </a:buClr>
              <a:buNone/>
            </a:pPr>
            <a:r>
              <a:rPr lang="de-DE" b="1" dirty="0">
                <a:solidFill>
                  <a:schemeClr val="bg1"/>
                </a:solidFill>
              </a:rPr>
              <a:t>Kommunizieren</a:t>
            </a:r>
            <a:br>
              <a:rPr lang="de-DE" b="1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Bei Kunden bekanntmachen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9" name="Textplatzhalter 24">
            <a:extLst>
              <a:ext uri="{FF2B5EF4-FFF2-40B4-BE49-F238E27FC236}">
                <a16:creationId xmlns:a16="http://schemas.microsoft.com/office/drawing/2014/main" id="{AC82153B-593B-482D-C979-BC83C4CE5417}"/>
              </a:ext>
            </a:extLst>
          </p:cNvPr>
          <p:cNvSpPr txBox="1">
            <a:spLocks/>
          </p:cNvSpPr>
          <p:nvPr/>
        </p:nvSpPr>
        <p:spPr>
          <a:xfrm>
            <a:off x="3239006" y="1800000"/>
            <a:ext cx="2591165" cy="1008112"/>
          </a:xfrm>
          <a:prstGeom prst="rect">
            <a:avLst/>
          </a:prstGeom>
          <a:solidFill>
            <a:schemeClr val="accent2"/>
          </a:solidFill>
        </p:spPr>
        <p:txBody>
          <a:bodyPr vert="horz" lIns="90000" tIns="90000" rIns="0" bIns="0" rtlCol="0">
            <a:no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Clr>
                <a:schemeClr val="bg1"/>
              </a:buClr>
              <a:buNone/>
            </a:pPr>
            <a:r>
              <a:rPr lang="de-DE" b="1" dirty="0">
                <a:solidFill>
                  <a:schemeClr val="bg1"/>
                </a:solidFill>
              </a:rPr>
              <a:t>Befüllen</a:t>
            </a:r>
            <a:br>
              <a:rPr lang="de-DE" b="1" dirty="0">
                <a:solidFill>
                  <a:schemeClr val="bg1"/>
                </a:solidFill>
              </a:rPr>
            </a:br>
            <a:r>
              <a:rPr lang="de-DE" spc="-50" dirty="0">
                <a:solidFill>
                  <a:schemeClr val="bg1"/>
                </a:solidFill>
              </a:rPr>
              <a:t>Informationen eingeben</a:t>
            </a:r>
            <a:r>
              <a:rPr lang="de-DE" dirty="0">
                <a:solidFill>
                  <a:schemeClr val="bg1"/>
                </a:solidFill>
              </a:rPr>
              <a:t> und hochladen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CBF4CA99-FCC3-4A28-0257-EDB13E700220}"/>
              </a:ext>
            </a:extLst>
          </p:cNvPr>
          <p:cNvSpPr/>
          <p:nvPr/>
        </p:nvSpPr>
        <p:spPr>
          <a:xfrm>
            <a:off x="1270184" y="3089028"/>
            <a:ext cx="914400" cy="914400"/>
          </a:xfrm>
          <a:prstGeom prst="ellipse">
            <a:avLst/>
          </a:prstGeom>
          <a:solidFill>
            <a:srgbClr val="EEF0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000"/>
              </a:spcAft>
            </a:pPr>
            <a:endParaRPr lang="de-DE" sz="1800" dirty="0" err="1">
              <a:solidFill>
                <a:schemeClr val="bg1"/>
              </a:solidFill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99E46B01-2292-BC3D-A3B2-56AFA9A7F073}"/>
              </a:ext>
            </a:extLst>
          </p:cNvPr>
          <p:cNvSpPr/>
          <p:nvPr/>
        </p:nvSpPr>
        <p:spPr>
          <a:xfrm>
            <a:off x="4059104" y="3089028"/>
            <a:ext cx="914400" cy="914400"/>
          </a:xfrm>
          <a:prstGeom prst="ellipse">
            <a:avLst/>
          </a:prstGeom>
          <a:solidFill>
            <a:srgbClr val="EEF0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000"/>
              </a:spcAft>
            </a:pPr>
            <a:endParaRPr lang="de-DE" sz="1800" dirty="0" err="1">
              <a:solidFill>
                <a:schemeClr val="bg1"/>
              </a:solidFill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5E10B53A-777C-A986-364C-6B15FFE39C21}"/>
              </a:ext>
            </a:extLst>
          </p:cNvPr>
          <p:cNvSpPr/>
          <p:nvPr/>
        </p:nvSpPr>
        <p:spPr>
          <a:xfrm>
            <a:off x="6947084" y="3089028"/>
            <a:ext cx="914400" cy="914400"/>
          </a:xfrm>
          <a:prstGeom prst="ellipse">
            <a:avLst/>
          </a:prstGeom>
          <a:solidFill>
            <a:srgbClr val="EEF0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000"/>
              </a:spcAft>
            </a:pPr>
            <a:endParaRPr lang="de-DE" sz="1800" dirty="0" err="1">
              <a:solidFill>
                <a:schemeClr val="bg1"/>
              </a:solidFill>
            </a:endParaRPr>
          </a:p>
        </p:txBody>
      </p:sp>
      <p:pic>
        <p:nvPicPr>
          <p:cNvPr id="21" name="Grafik 20" descr="E-Mail Silhouette">
            <a:extLst>
              <a:ext uri="{FF2B5EF4-FFF2-40B4-BE49-F238E27FC236}">
                <a16:creationId xmlns:a16="http://schemas.microsoft.com/office/drawing/2014/main" id="{B0C35C5B-3F89-EC39-4BEB-0AAC2BDCAC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45444" y="3226724"/>
            <a:ext cx="556260" cy="556260"/>
          </a:xfrm>
          <a:prstGeom prst="rect">
            <a:avLst/>
          </a:prstGeom>
        </p:spPr>
      </p:pic>
      <p:pic>
        <p:nvPicPr>
          <p:cNvPr id="23" name="Grafik 22" descr="Filter Silhouette">
            <a:extLst>
              <a:ext uri="{FF2B5EF4-FFF2-40B4-BE49-F238E27FC236}">
                <a16:creationId xmlns:a16="http://schemas.microsoft.com/office/drawing/2014/main" id="{BF38A449-5388-5228-FD85-95014454BF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73965" y="3257938"/>
            <a:ext cx="673224" cy="673224"/>
          </a:xfrm>
          <a:prstGeom prst="rect">
            <a:avLst/>
          </a:prstGeom>
        </p:spPr>
      </p:pic>
      <p:pic>
        <p:nvPicPr>
          <p:cNvPr id="27" name="Grafik 26" descr="Kommentar (wichtig) Silhouette">
            <a:extLst>
              <a:ext uri="{FF2B5EF4-FFF2-40B4-BE49-F238E27FC236}">
                <a16:creationId xmlns:a16="http://schemas.microsoft.com/office/drawing/2014/main" id="{B2261245-65BA-75BB-CF7B-1ADDD8D1A36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436" y="3257104"/>
            <a:ext cx="617360" cy="6173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09728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BB1C8BE1-F0B1-BC0A-9347-A37DE7AFF98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99" b="2570"/>
          <a:stretch/>
        </p:blipFill>
        <p:spPr>
          <a:xfrm>
            <a:off x="457199" y="187011"/>
            <a:ext cx="8318607" cy="4436840"/>
          </a:xfrm>
          <a:prstGeom prst="rect">
            <a:avLst/>
          </a:prstGeom>
          <a:noFill/>
          <a:ln w="6350">
            <a:noFill/>
          </a:ln>
        </p:spPr>
      </p:pic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F162673A-685C-F6A8-A62A-B45E0C750676}"/>
              </a:ext>
            </a:extLst>
          </p:cNvPr>
          <p:cNvGrpSpPr/>
          <p:nvPr/>
        </p:nvGrpSpPr>
        <p:grpSpPr>
          <a:xfrm>
            <a:off x="2087439" y="2880419"/>
            <a:ext cx="3600400" cy="1446807"/>
            <a:chOff x="1298723" y="1472940"/>
            <a:chExt cx="3600400" cy="1446807"/>
          </a:xfrm>
        </p:grpSpPr>
        <p:sp>
          <p:nvSpPr>
            <p:cNvPr id="20" name="Gleichschenkliges Dreieck 3">
              <a:extLst>
                <a:ext uri="{FF2B5EF4-FFF2-40B4-BE49-F238E27FC236}">
                  <a16:creationId xmlns:a16="http://schemas.microsoft.com/office/drawing/2014/main" id="{96ECA019-8E5C-B188-57A8-F7F5C1422BCA}"/>
                </a:ext>
              </a:extLst>
            </p:cNvPr>
            <p:cNvSpPr/>
            <p:nvPr/>
          </p:nvSpPr>
          <p:spPr>
            <a:xfrm rot="5400000">
              <a:off x="1205365" y="1566298"/>
              <a:ext cx="903423" cy="716707"/>
            </a:xfrm>
            <a:custGeom>
              <a:avLst/>
              <a:gdLst>
                <a:gd name="connsiteX0" fmla="*/ 0 w 1116074"/>
                <a:gd name="connsiteY0" fmla="*/ 504056 h 504056"/>
                <a:gd name="connsiteX1" fmla="*/ 711598 w 1116074"/>
                <a:gd name="connsiteY1" fmla="*/ 0 h 504056"/>
                <a:gd name="connsiteX2" fmla="*/ 1116074 w 1116074"/>
                <a:gd name="connsiteY2" fmla="*/ 504056 h 504056"/>
                <a:gd name="connsiteX3" fmla="*/ 0 w 1116074"/>
                <a:gd name="connsiteY3" fmla="*/ 504056 h 504056"/>
                <a:gd name="connsiteX0" fmla="*/ 0 w 903423"/>
                <a:gd name="connsiteY0" fmla="*/ 504056 h 504056"/>
                <a:gd name="connsiteX1" fmla="*/ 711598 w 903423"/>
                <a:gd name="connsiteY1" fmla="*/ 0 h 504056"/>
                <a:gd name="connsiteX2" fmla="*/ 903423 w 903423"/>
                <a:gd name="connsiteY2" fmla="*/ 291404 h 504056"/>
                <a:gd name="connsiteX3" fmla="*/ 0 w 903423"/>
                <a:gd name="connsiteY3" fmla="*/ 504056 h 504056"/>
                <a:gd name="connsiteX0" fmla="*/ 0 w 903423"/>
                <a:gd name="connsiteY0" fmla="*/ 716707 h 716707"/>
                <a:gd name="connsiteX1" fmla="*/ 711598 w 903423"/>
                <a:gd name="connsiteY1" fmla="*/ 0 h 716707"/>
                <a:gd name="connsiteX2" fmla="*/ 903423 w 903423"/>
                <a:gd name="connsiteY2" fmla="*/ 291404 h 716707"/>
                <a:gd name="connsiteX3" fmla="*/ 0 w 903423"/>
                <a:gd name="connsiteY3" fmla="*/ 716707 h 716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3423" h="716707">
                  <a:moveTo>
                    <a:pt x="0" y="716707"/>
                  </a:moveTo>
                  <a:lnTo>
                    <a:pt x="711598" y="0"/>
                  </a:lnTo>
                  <a:lnTo>
                    <a:pt x="903423" y="291404"/>
                  </a:lnTo>
                  <a:lnTo>
                    <a:pt x="0" y="71670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000"/>
                </a:spcAft>
              </a:pPr>
              <a:endParaRPr lang="de-DE" sz="18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9A6BF0C9-3ACD-FBA9-DC5B-CA4D3269885B}"/>
                </a:ext>
              </a:extLst>
            </p:cNvPr>
            <p:cNvSpPr/>
            <p:nvPr/>
          </p:nvSpPr>
          <p:spPr>
            <a:xfrm>
              <a:off x="1655391" y="2016323"/>
              <a:ext cx="3243732" cy="903424"/>
            </a:xfrm>
            <a:prstGeom prst="rect">
              <a:avLst/>
            </a:prstGeom>
            <a:solidFill>
              <a:srgbClr val="0068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tIns="144000" rIns="216000" bIns="36000" rtlCol="0" anchor="t" anchorCtr="0"/>
            <a:lstStyle/>
            <a:p>
              <a:pPr>
                <a:lnSpc>
                  <a:spcPct val="90000"/>
                </a:lnSpc>
                <a:spcBef>
                  <a:spcPts val="500"/>
                </a:spcBef>
                <a:spcAft>
                  <a:spcPts val="500"/>
                </a:spcAft>
              </a:pPr>
              <a:r>
                <a:rPr lang="de-DE" sz="2600" b="1" dirty="0">
                  <a:solidFill>
                    <a:schemeClr val="bg1"/>
                  </a:solidFill>
                </a:rPr>
                <a:t>Eintrag Stammdaten</a:t>
              </a:r>
              <a:br>
                <a:rPr lang="de-DE" sz="2600" b="1" dirty="0">
                  <a:solidFill>
                    <a:schemeClr val="bg1"/>
                  </a:solidFill>
                </a:rPr>
              </a:br>
              <a:r>
                <a:rPr lang="de-DE" sz="2000" dirty="0">
                  <a:solidFill>
                    <a:schemeClr val="bg1"/>
                  </a:solidFill>
                </a:rPr>
                <a:t>über frei editierbare Felder</a:t>
              </a:r>
              <a:endParaRPr lang="de-DE" sz="2600" dirty="0">
                <a:solidFill>
                  <a:schemeClr val="bg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42859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81AB9103-BA5D-47EA-AB22-A42DF444C1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65375"/>
            <a:ext cx="9215438" cy="48540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469804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116F2E88-E45F-0DA2-8A85-A69B7C02F33E}"/>
              </a:ext>
            </a:extLst>
          </p:cNvPr>
          <p:cNvPicPr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567" b="323"/>
          <a:stretch/>
        </p:blipFill>
        <p:spPr>
          <a:xfrm>
            <a:off x="457198" y="79727"/>
            <a:ext cx="8326205" cy="4646067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0A88ECA-031A-379E-9619-DC1229CF70DF}"/>
              </a:ext>
            </a:extLst>
          </p:cNvPr>
          <p:cNvGrpSpPr/>
          <p:nvPr/>
        </p:nvGrpSpPr>
        <p:grpSpPr>
          <a:xfrm>
            <a:off x="5751042" y="1788580"/>
            <a:ext cx="3142131" cy="1003943"/>
            <a:chOff x="5643135" y="2236145"/>
            <a:chExt cx="3142131" cy="1003943"/>
          </a:xfrm>
        </p:grpSpPr>
        <p:sp>
          <p:nvSpPr>
            <p:cNvPr id="9" name="Gleichschenkliges Dreieck 3">
              <a:extLst>
                <a:ext uri="{FF2B5EF4-FFF2-40B4-BE49-F238E27FC236}">
                  <a16:creationId xmlns:a16="http://schemas.microsoft.com/office/drawing/2014/main" id="{A9EC8D7D-5AAB-3372-D890-0F9EF0BCAE9C}"/>
                </a:ext>
              </a:extLst>
            </p:cNvPr>
            <p:cNvSpPr/>
            <p:nvPr/>
          </p:nvSpPr>
          <p:spPr>
            <a:xfrm rot="15611424" flipV="1">
              <a:off x="6163876" y="1990892"/>
              <a:ext cx="517901" cy="1559384"/>
            </a:xfrm>
            <a:custGeom>
              <a:avLst/>
              <a:gdLst>
                <a:gd name="connsiteX0" fmla="*/ 0 w 1116074"/>
                <a:gd name="connsiteY0" fmla="*/ 504056 h 504056"/>
                <a:gd name="connsiteX1" fmla="*/ 711598 w 1116074"/>
                <a:gd name="connsiteY1" fmla="*/ 0 h 504056"/>
                <a:gd name="connsiteX2" fmla="*/ 1116074 w 1116074"/>
                <a:gd name="connsiteY2" fmla="*/ 504056 h 504056"/>
                <a:gd name="connsiteX3" fmla="*/ 0 w 1116074"/>
                <a:gd name="connsiteY3" fmla="*/ 504056 h 504056"/>
                <a:gd name="connsiteX0" fmla="*/ 0 w 903423"/>
                <a:gd name="connsiteY0" fmla="*/ 504056 h 504056"/>
                <a:gd name="connsiteX1" fmla="*/ 711598 w 903423"/>
                <a:gd name="connsiteY1" fmla="*/ 0 h 504056"/>
                <a:gd name="connsiteX2" fmla="*/ 903423 w 903423"/>
                <a:gd name="connsiteY2" fmla="*/ 291404 h 504056"/>
                <a:gd name="connsiteX3" fmla="*/ 0 w 903423"/>
                <a:gd name="connsiteY3" fmla="*/ 504056 h 504056"/>
                <a:gd name="connsiteX0" fmla="*/ 0 w 903423"/>
                <a:gd name="connsiteY0" fmla="*/ 716707 h 716707"/>
                <a:gd name="connsiteX1" fmla="*/ 711598 w 903423"/>
                <a:gd name="connsiteY1" fmla="*/ 0 h 716707"/>
                <a:gd name="connsiteX2" fmla="*/ 903423 w 903423"/>
                <a:gd name="connsiteY2" fmla="*/ 291404 h 716707"/>
                <a:gd name="connsiteX3" fmla="*/ 0 w 903423"/>
                <a:gd name="connsiteY3" fmla="*/ 716707 h 716707"/>
                <a:gd name="connsiteX0" fmla="*/ 88787 w 992210"/>
                <a:gd name="connsiteY0" fmla="*/ 912078 h 912078"/>
                <a:gd name="connsiteX1" fmla="*/ -1 w 992210"/>
                <a:gd name="connsiteY1" fmla="*/ 0 h 912078"/>
                <a:gd name="connsiteX2" fmla="*/ 992210 w 992210"/>
                <a:gd name="connsiteY2" fmla="*/ 486775 h 912078"/>
                <a:gd name="connsiteX3" fmla="*/ 88787 w 992210"/>
                <a:gd name="connsiteY3" fmla="*/ 912078 h 912078"/>
                <a:gd name="connsiteX0" fmla="*/ 88787 w 932921"/>
                <a:gd name="connsiteY0" fmla="*/ 912078 h 912078"/>
                <a:gd name="connsiteX1" fmla="*/ -1 w 932921"/>
                <a:gd name="connsiteY1" fmla="*/ 0 h 912078"/>
                <a:gd name="connsiteX2" fmla="*/ 932921 w 932921"/>
                <a:gd name="connsiteY2" fmla="*/ 9194 h 912078"/>
                <a:gd name="connsiteX3" fmla="*/ 88787 w 932921"/>
                <a:gd name="connsiteY3" fmla="*/ 912078 h 912078"/>
                <a:gd name="connsiteX0" fmla="*/ 340760 w 932921"/>
                <a:gd name="connsiteY0" fmla="*/ 581028 h 581028"/>
                <a:gd name="connsiteX1" fmla="*/ -1 w 932921"/>
                <a:gd name="connsiteY1" fmla="*/ 0 h 581028"/>
                <a:gd name="connsiteX2" fmla="*/ 932921 w 932921"/>
                <a:gd name="connsiteY2" fmla="*/ 9194 h 581028"/>
                <a:gd name="connsiteX3" fmla="*/ 340760 w 932921"/>
                <a:gd name="connsiteY3" fmla="*/ 581028 h 581028"/>
                <a:gd name="connsiteX0" fmla="*/ 340760 w 755056"/>
                <a:gd name="connsiteY0" fmla="*/ 582687 h 582687"/>
                <a:gd name="connsiteX1" fmla="*/ -1 w 755056"/>
                <a:gd name="connsiteY1" fmla="*/ 1659 h 582687"/>
                <a:gd name="connsiteX2" fmla="*/ 755057 w 755056"/>
                <a:gd name="connsiteY2" fmla="*/ 0 h 582687"/>
                <a:gd name="connsiteX3" fmla="*/ 340760 w 755056"/>
                <a:gd name="connsiteY3" fmla="*/ 582687 h 582687"/>
                <a:gd name="connsiteX0" fmla="*/ 177721 w 592017"/>
                <a:gd name="connsiteY0" fmla="*/ 582687 h 582687"/>
                <a:gd name="connsiteX1" fmla="*/ 1 w 592017"/>
                <a:gd name="connsiteY1" fmla="*/ 1661 h 582687"/>
                <a:gd name="connsiteX2" fmla="*/ 592018 w 592017"/>
                <a:gd name="connsiteY2" fmla="*/ 0 h 582687"/>
                <a:gd name="connsiteX3" fmla="*/ 177721 w 592017"/>
                <a:gd name="connsiteY3" fmla="*/ 582687 h 582687"/>
                <a:gd name="connsiteX0" fmla="*/ 1178409 w 1178409"/>
                <a:gd name="connsiteY0" fmla="*/ 622695 h 622695"/>
                <a:gd name="connsiteX1" fmla="*/ 1 w 1178409"/>
                <a:gd name="connsiteY1" fmla="*/ 1661 h 622695"/>
                <a:gd name="connsiteX2" fmla="*/ 592018 w 1178409"/>
                <a:gd name="connsiteY2" fmla="*/ 0 h 622695"/>
                <a:gd name="connsiteX3" fmla="*/ 1178409 w 1178409"/>
                <a:gd name="connsiteY3" fmla="*/ 622695 h 622695"/>
                <a:gd name="connsiteX0" fmla="*/ 1178409 w 1178409"/>
                <a:gd name="connsiteY0" fmla="*/ 621034 h 621034"/>
                <a:gd name="connsiteX1" fmla="*/ 1 w 1178409"/>
                <a:gd name="connsiteY1" fmla="*/ 0 h 621034"/>
                <a:gd name="connsiteX2" fmla="*/ 1003647 w 1178409"/>
                <a:gd name="connsiteY2" fmla="*/ 4340 h 621034"/>
                <a:gd name="connsiteX3" fmla="*/ 1178409 w 1178409"/>
                <a:gd name="connsiteY3" fmla="*/ 621034 h 621034"/>
                <a:gd name="connsiteX0" fmla="*/ 1178409 w 1178409"/>
                <a:gd name="connsiteY0" fmla="*/ 621034 h 621034"/>
                <a:gd name="connsiteX1" fmla="*/ 1 w 1178409"/>
                <a:gd name="connsiteY1" fmla="*/ 0 h 621034"/>
                <a:gd name="connsiteX2" fmla="*/ 1003647 w 1178409"/>
                <a:gd name="connsiteY2" fmla="*/ 4340 h 621034"/>
                <a:gd name="connsiteX3" fmla="*/ 1178409 w 1178409"/>
                <a:gd name="connsiteY3" fmla="*/ 621034 h 621034"/>
                <a:gd name="connsiteX0" fmla="*/ 1041198 w 1041198"/>
                <a:gd name="connsiteY0" fmla="*/ 621034 h 621034"/>
                <a:gd name="connsiteX1" fmla="*/ 1 w 1041198"/>
                <a:gd name="connsiteY1" fmla="*/ 0 h 621034"/>
                <a:gd name="connsiteX2" fmla="*/ 1003647 w 1041198"/>
                <a:gd name="connsiteY2" fmla="*/ 4340 h 621034"/>
                <a:gd name="connsiteX3" fmla="*/ 1041198 w 1041198"/>
                <a:gd name="connsiteY3" fmla="*/ 621034 h 6210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1198" h="621034">
                  <a:moveTo>
                    <a:pt x="1041198" y="621034"/>
                  </a:moveTo>
                  <a:lnTo>
                    <a:pt x="1" y="0"/>
                  </a:lnTo>
                  <a:lnTo>
                    <a:pt x="1003647" y="4340"/>
                  </a:lnTo>
                  <a:lnTo>
                    <a:pt x="1041198" y="62103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1000"/>
                </a:spcAft>
              </a:pPr>
              <a:endParaRPr lang="de-DE" sz="1800" dirty="0" err="1">
                <a:solidFill>
                  <a:schemeClr val="bg1"/>
                </a:solidFill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441AC7AA-CF85-DE28-D949-72FF9D85E90D}"/>
                </a:ext>
              </a:extLst>
            </p:cNvPr>
            <p:cNvSpPr/>
            <p:nvPr/>
          </p:nvSpPr>
          <p:spPr>
            <a:xfrm>
              <a:off x="6841050" y="2236145"/>
              <a:ext cx="1944216" cy="1003943"/>
            </a:xfrm>
            <a:prstGeom prst="rect">
              <a:avLst/>
            </a:prstGeom>
            <a:solidFill>
              <a:srgbClr val="0068A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 anchorCtr="0"/>
            <a:lstStyle/>
            <a:p>
              <a:pPr>
                <a:lnSpc>
                  <a:spcPct val="90000"/>
                </a:lnSpc>
                <a:spcBef>
                  <a:spcPts val="500"/>
                </a:spcBef>
                <a:spcAft>
                  <a:spcPts val="500"/>
                </a:spcAft>
              </a:pPr>
              <a:r>
                <a:rPr lang="de-DE" sz="2000" b="1" dirty="0">
                  <a:solidFill>
                    <a:schemeClr val="bg1"/>
                  </a:solidFill>
                </a:rPr>
                <a:t>Durchschnitt-</a:t>
              </a:r>
              <a:r>
                <a:rPr lang="de-DE" sz="2000" b="1" dirty="0" err="1">
                  <a:solidFill>
                    <a:schemeClr val="bg1"/>
                  </a:solidFill>
                </a:rPr>
                <a:t>liche</a:t>
              </a:r>
              <a:r>
                <a:rPr lang="de-DE" sz="2000" b="1" dirty="0">
                  <a:solidFill>
                    <a:schemeClr val="bg1"/>
                  </a:solidFill>
                </a:rPr>
                <a:t> Kosten </a:t>
              </a:r>
              <a:br>
                <a:rPr lang="de-DE" sz="2000" b="1" dirty="0">
                  <a:solidFill>
                    <a:schemeClr val="bg1"/>
                  </a:solidFill>
                </a:rPr>
              </a:br>
              <a:r>
                <a:rPr lang="de-DE" sz="2000" dirty="0">
                  <a:solidFill>
                    <a:schemeClr val="bg1"/>
                  </a:solidFill>
                </a:rPr>
                <a:t>Pop-up/PDF</a:t>
              </a:r>
              <a:endParaRPr lang="de-DE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Gleichschenkliges Dreieck 3">
            <a:extLst>
              <a:ext uri="{FF2B5EF4-FFF2-40B4-BE49-F238E27FC236}">
                <a16:creationId xmlns:a16="http://schemas.microsoft.com/office/drawing/2014/main" id="{6A5A7135-7EB0-082E-4E1E-75372E91F634}"/>
              </a:ext>
            </a:extLst>
          </p:cNvPr>
          <p:cNvSpPr/>
          <p:nvPr/>
        </p:nvSpPr>
        <p:spPr>
          <a:xfrm rot="18000000" flipV="1">
            <a:off x="6306670" y="2796579"/>
            <a:ext cx="252923" cy="1307266"/>
          </a:xfrm>
          <a:custGeom>
            <a:avLst/>
            <a:gdLst>
              <a:gd name="connsiteX0" fmla="*/ 0 w 1116074"/>
              <a:gd name="connsiteY0" fmla="*/ 504056 h 504056"/>
              <a:gd name="connsiteX1" fmla="*/ 711598 w 1116074"/>
              <a:gd name="connsiteY1" fmla="*/ 0 h 504056"/>
              <a:gd name="connsiteX2" fmla="*/ 1116074 w 1116074"/>
              <a:gd name="connsiteY2" fmla="*/ 504056 h 504056"/>
              <a:gd name="connsiteX3" fmla="*/ 0 w 1116074"/>
              <a:gd name="connsiteY3" fmla="*/ 504056 h 504056"/>
              <a:gd name="connsiteX0" fmla="*/ 0 w 903423"/>
              <a:gd name="connsiteY0" fmla="*/ 504056 h 504056"/>
              <a:gd name="connsiteX1" fmla="*/ 711598 w 903423"/>
              <a:gd name="connsiteY1" fmla="*/ 0 h 504056"/>
              <a:gd name="connsiteX2" fmla="*/ 903423 w 903423"/>
              <a:gd name="connsiteY2" fmla="*/ 291404 h 504056"/>
              <a:gd name="connsiteX3" fmla="*/ 0 w 903423"/>
              <a:gd name="connsiteY3" fmla="*/ 504056 h 504056"/>
              <a:gd name="connsiteX0" fmla="*/ 0 w 903423"/>
              <a:gd name="connsiteY0" fmla="*/ 716707 h 716707"/>
              <a:gd name="connsiteX1" fmla="*/ 711598 w 903423"/>
              <a:gd name="connsiteY1" fmla="*/ 0 h 716707"/>
              <a:gd name="connsiteX2" fmla="*/ 903423 w 903423"/>
              <a:gd name="connsiteY2" fmla="*/ 291404 h 716707"/>
              <a:gd name="connsiteX3" fmla="*/ 0 w 903423"/>
              <a:gd name="connsiteY3" fmla="*/ 716707 h 716707"/>
              <a:gd name="connsiteX0" fmla="*/ 88787 w 992210"/>
              <a:gd name="connsiteY0" fmla="*/ 912078 h 912078"/>
              <a:gd name="connsiteX1" fmla="*/ -1 w 992210"/>
              <a:gd name="connsiteY1" fmla="*/ 0 h 912078"/>
              <a:gd name="connsiteX2" fmla="*/ 992210 w 992210"/>
              <a:gd name="connsiteY2" fmla="*/ 486775 h 912078"/>
              <a:gd name="connsiteX3" fmla="*/ 88787 w 992210"/>
              <a:gd name="connsiteY3" fmla="*/ 912078 h 912078"/>
              <a:gd name="connsiteX0" fmla="*/ 88787 w 932921"/>
              <a:gd name="connsiteY0" fmla="*/ 912078 h 912078"/>
              <a:gd name="connsiteX1" fmla="*/ -1 w 932921"/>
              <a:gd name="connsiteY1" fmla="*/ 0 h 912078"/>
              <a:gd name="connsiteX2" fmla="*/ 932921 w 932921"/>
              <a:gd name="connsiteY2" fmla="*/ 9194 h 912078"/>
              <a:gd name="connsiteX3" fmla="*/ 88787 w 932921"/>
              <a:gd name="connsiteY3" fmla="*/ 912078 h 912078"/>
              <a:gd name="connsiteX0" fmla="*/ 340760 w 932921"/>
              <a:gd name="connsiteY0" fmla="*/ 581028 h 581028"/>
              <a:gd name="connsiteX1" fmla="*/ -1 w 932921"/>
              <a:gd name="connsiteY1" fmla="*/ 0 h 581028"/>
              <a:gd name="connsiteX2" fmla="*/ 932921 w 932921"/>
              <a:gd name="connsiteY2" fmla="*/ 9194 h 581028"/>
              <a:gd name="connsiteX3" fmla="*/ 340760 w 932921"/>
              <a:gd name="connsiteY3" fmla="*/ 581028 h 581028"/>
              <a:gd name="connsiteX0" fmla="*/ 340760 w 755056"/>
              <a:gd name="connsiteY0" fmla="*/ 582687 h 582687"/>
              <a:gd name="connsiteX1" fmla="*/ -1 w 755056"/>
              <a:gd name="connsiteY1" fmla="*/ 1659 h 582687"/>
              <a:gd name="connsiteX2" fmla="*/ 755057 w 755056"/>
              <a:gd name="connsiteY2" fmla="*/ 0 h 582687"/>
              <a:gd name="connsiteX3" fmla="*/ 340760 w 755056"/>
              <a:gd name="connsiteY3" fmla="*/ 582687 h 582687"/>
              <a:gd name="connsiteX0" fmla="*/ 177721 w 592017"/>
              <a:gd name="connsiteY0" fmla="*/ 582687 h 582687"/>
              <a:gd name="connsiteX1" fmla="*/ 1 w 592017"/>
              <a:gd name="connsiteY1" fmla="*/ 1661 h 582687"/>
              <a:gd name="connsiteX2" fmla="*/ 592018 w 592017"/>
              <a:gd name="connsiteY2" fmla="*/ 0 h 582687"/>
              <a:gd name="connsiteX3" fmla="*/ 177721 w 592017"/>
              <a:gd name="connsiteY3" fmla="*/ 582687 h 582687"/>
              <a:gd name="connsiteX0" fmla="*/ 1178409 w 1178409"/>
              <a:gd name="connsiteY0" fmla="*/ 622695 h 622695"/>
              <a:gd name="connsiteX1" fmla="*/ 1 w 1178409"/>
              <a:gd name="connsiteY1" fmla="*/ 1661 h 622695"/>
              <a:gd name="connsiteX2" fmla="*/ 592018 w 1178409"/>
              <a:gd name="connsiteY2" fmla="*/ 0 h 622695"/>
              <a:gd name="connsiteX3" fmla="*/ 1178409 w 1178409"/>
              <a:gd name="connsiteY3" fmla="*/ 622695 h 622695"/>
              <a:gd name="connsiteX0" fmla="*/ 1178409 w 1178409"/>
              <a:gd name="connsiteY0" fmla="*/ 621034 h 621034"/>
              <a:gd name="connsiteX1" fmla="*/ 1 w 1178409"/>
              <a:gd name="connsiteY1" fmla="*/ 0 h 621034"/>
              <a:gd name="connsiteX2" fmla="*/ 1003647 w 1178409"/>
              <a:gd name="connsiteY2" fmla="*/ 4340 h 621034"/>
              <a:gd name="connsiteX3" fmla="*/ 1178409 w 1178409"/>
              <a:gd name="connsiteY3" fmla="*/ 621034 h 621034"/>
              <a:gd name="connsiteX0" fmla="*/ 1178409 w 1178409"/>
              <a:gd name="connsiteY0" fmla="*/ 621034 h 621034"/>
              <a:gd name="connsiteX1" fmla="*/ 1 w 1178409"/>
              <a:gd name="connsiteY1" fmla="*/ 0 h 621034"/>
              <a:gd name="connsiteX2" fmla="*/ 1003647 w 1178409"/>
              <a:gd name="connsiteY2" fmla="*/ 4340 h 621034"/>
              <a:gd name="connsiteX3" fmla="*/ 1178409 w 1178409"/>
              <a:gd name="connsiteY3" fmla="*/ 621034 h 621034"/>
              <a:gd name="connsiteX0" fmla="*/ 1041198 w 1041198"/>
              <a:gd name="connsiteY0" fmla="*/ 621034 h 621034"/>
              <a:gd name="connsiteX1" fmla="*/ 1 w 1041198"/>
              <a:gd name="connsiteY1" fmla="*/ 0 h 621034"/>
              <a:gd name="connsiteX2" fmla="*/ 1003647 w 1041198"/>
              <a:gd name="connsiteY2" fmla="*/ 4340 h 621034"/>
              <a:gd name="connsiteX3" fmla="*/ 1041198 w 1041198"/>
              <a:gd name="connsiteY3" fmla="*/ 621034 h 621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1198" h="621034">
                <a:moveTo>
                  <a:pt x="1041198" y="621034"/>
                </a:moveTo>
                <a:lnTo>
                  <a:pt x="1" y="0"/>
                </a:lnTo>
                <a:lnTo>
                  <a:pt x="1003647" y="4340"/>
                </a:lnTo>
                <a:lnTo>
                  <a:pt x="1041198" y="62103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000"/>
              </a:spcAft>
            </a:pPr>
            <a:endParaRPr lang="de-DE" sz="1800" dirty="0" err="1">
              <a:solidFill>
                <a:schemeClr val="bg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8642C66C-1FD4-C126-5677-0068F64D6EA4}"/>
              </a:ext>
            </a:extLst>
          </p:cNvPr>
          <p:cNvSpPr/>
          <p:nvPr/>
        </p:nvSpPr>
        <p:spPr>
          <a:xfrm>
            <a:off x="6349500" y="3535094"/>
            <a:ext cx="1477305" cy="642147"/>
          </a:xfrm>
          <a:prstGeom prst="rect">
            <a:avLst/>
          </a:prstGeom>
          <a:solidFill>
            <a:srgbClr val="006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 anchorCtr="0"/>
          <a:lstStyle/>
          <a:p>
            <a:pPr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</a:pPr>
            <a:r>
              <a:rPr lang="de-DE" sz="2000" b="1" dirty="0">
                <a:solidFill>
                  <a:schemeClr val="bg1"/>
                </a:solidFill>
              </a:rPr>
              <a:t>Preisblatt </a:t>
            </a:r>
            <a:r>
              <a:rPr lang="de-DE" sz="2000" dirty="0">
                <a:solidFill>
                  <a:schemeClr val="bg1"/>
                </a:solidFill>
              </a:rPr>
              <a:t>PDF/Link</a:t>
            </a:r>
          </a:p>
        </p:txBody>
      </p:sp>
      <p:sp>
        <p:nvSpPr>
          <p:cNvPr id="15" name="Gleichschenkliges Dreieck 3">
            <a:extLst>
              <a:ext uri="{FF2B5EF4-FFF2-40B4-BE49-F238E27FC236}">
                <a16:creationId xmlns:a16="http://schemas.microsoft.com/office/drawing/2014/main" id="{BABFAA39-7409-701E-D6DC-B729FED93363}"/>
              </a:ext>
            </a:extLst>
          </p:cNvPr>
          <p:cNvSpPr/>
          <p:nvPr/>
        </p:nvSpPr>
        <p:spPr>
          <a:xfrm rot="4594479" flipH="1" flipV="1">
            <a:off x="2143073" y="2528585"/>
            <a:ext cx="514847" cy="1972335"/>
          </a:xfrm>
          <a:custGeom>
            <a:avLst/>
            <a:gdLst>
              <a:gd name="connsiteX0" fmla="*/ 0 w 1116074"/>
              <a:gd name="connsiteY0" fmla="*/ 504056 h 504056"/>
              <a:gd name="connsiteX1" fmla="*/ 711598 w 1116074"/>
              <a:gd name="connsiteY1" fmla="*/ 0 h 504056"/>
              <a:gd name="connsiteX2" fmla="*/ 1116074 w 1116074"/>
              <a:gd name="connsiteY2" fmla="*/ 504056 h 504056"/>
              <a:gd name="connsiteX3" fmla="*/ 0 w 1116074"/>
              <a:gd name="connsiteY3" fmla="*/ 504056 h 504056"/>
              <a:gd name="connsiteX0" fmla="*/ 0 w 903423"/>
              <a:gd name="connsiteY0" fmla="*/ 504056 h 504056"/>
              <a:gd name="connsiteX1" fmla="*/ 711598 w 903423"/>
              <a:gd name="connsiteY1" fmla="*/ 0 h 504056"/>
              <a:gd name="connsiteX2" fmla="*/ 903423 w 903423"/>
              <a:gd name="connsiteY2" fmla="*/ 291404 h 504056"/>
              <a:gd name="connsiteX3" fmla="*/ 0 w 903423"/>
              <a:gd name="connsiteY3" fmla="*/ 504056 h 504056"/>
              <a:gd name="connsiteX0" fmla="*/ 0 w 903423"/>
              <a:gd name="connsiteY0" fmla="*/ 716707 h 716707"/>
              <a:gd name="connsiteX1" fmla="*/ 711598 w 903423"/>
              <a:gd name="connsiteY1" fmla="*/ 0 h 716707"/>
              <a:gd name="connsiteX2" fmla="*/ 903423 w 903423"/>
              <a:gd name="connsiteY2" fmla="*/ 291404 h 716707"/>
              <a:gd name="connsiteX3" fmla="*/ 0 w 903423"/>
              <a:gd name="connsiteY3" fmla="*/ 716707 h 716707"/>
              <a:gd name="connsiteX0" fmla="*/ 88787 w 992210"/>
              <a:gd name="connsiteY0" fmla="*/ 912078 h 912078"/>
              <a:gd name="connsiteX1" fmla="*/ -1 w 992210"/>
              <a:gd name="connsiteY1" fmla="*/ 0 h 912078"/>
              <a:gd name="connsiteX2" fmla="*/ 992210 w 992210"/>
              <a:gd name="connsiteY2" fmla="*/ 486775 h 912078"/>
              <a:gd name="connsiteX3" fmla="*/ 88787 w 992210"/>
              <a:gd name="connsiteY3" fmla="*/ 912078 h 912078"/>
              <a:gd name="connsiteX0" fmla="*/ 88787 w 932921"/>
              <a:gd name="connsiteY0" fmla="*/ 912078 h 912078"/>
              <a:gd name="connsiteX1" fmla="*/ -1 w 932921"/>
              <a:gd name="connsiteY1" fmla="*/ 0 h 912078"/>
              <a:gd name="connsiteX2" fmla="*/ 932921 w 932921"/>
              <a:gd name="connsiteY2" fmla="*/ 9194 h 912078"/>
              <a:gd name="connsiteX3" fmla="*/ 88787 w 932921"/>
              <a:gd name="connsiteY3" fmla="*/ 912078 h 912078"/>
              <a:gd name="connsiteX0" fmla="*/ 340760 w 932921"/>
              <a:gd name="connsiteY0" fmla="*/ 581028 h 581028"/>
              <a:gd name="connsiteX1" fmla="*/ -1 w 932921"/>
              <a:gd name="connsiteY1" fmla="*/ 0 h 581028"/>
              <a:gd name="connsiteX2" fmla="*/ 932921 w 932921"/>
              <a:gd name="connsiteY2" fmla="*/ 9194 h 581028"/>
              <a:gd name="connsiteX3" fmla="*/ 340760 w 932921"/>
              <a:gd name="connsiteY3" fmla="*/ 581028 h 581028"/>
              <a:gd name="connsiteX0" fmla="*/ 340760 w 755056"/>
              <a:gd name="connsiteY0" fmla="*/ 582687 h 582687"/>
              <a:gd name="connsiteX1" fmla="*/ -1 w 755056"/>
              <a:gd name="connsiteY1" fmla="*/ 1659 h 582687"/>
              <a:gd name="connsiteX2" fmla="*/ 755057 w 755056"/>
              <a:gd name="connsiteY2" fmla="*/ 0 h 582687"/>
              <a:gd name="connsiteX3" fmla="*/ 340760 w 755056"/>
              <a:gd name="connsiteY3" fmla="*/ 582687 h 582687"/>
              <a:gd name="connsiteX0" fmla="*/ 177721 w 592017"/>
              <a:gd name="connsiteY0" fmla="*/ 582687 h 582687"/>
              <a:gd name="connsiteX1" fmla="*/ 1 w 592017"/>
              <a:gd name="connsiteY1" fmla="*/ 1661 h 582687"/>
              <a:gd name="connsiteX2" fmla="*/ 592018 w 592017"/>
              <a:gd name="connsiteY2" fmla="*/ 0 h 582687"/>
              <a:gd name="connsiteX3" fmla="*/ 177721 w 592017"/>
              <a:gd name="connsiteY3" fmla="*/ 582687 h 582687"/>
              <a:gd name="connsiteX0" fmla="*/ 1178409 w 1178409"/>
              <a:gd name="connsiteY0" fmla="*/ 622695 h 622695"/>
              <a:gd name="connsiteX1" fmla="*/ 1 w 1178409"/>
              <a:gd name="connsiteY1" fmla="*/ 1661 h 622695"/>
              <a:gd name="connsiteX2" fmla="*/ 592018 w 1178409"/>
              <a:gd name="connsiteY2" fmla="*/ 0 h 622695"/>
              <a:gd name="connsiteX3" fmla="*/ 1178409 w 1178409"/>
              <a:gd name="connsiteY3" fmla="*/ 622695 h 622695"/>
              <a:gd name="connsiteX0" fmla="*/ 1178409 w 1178409"/>
              <a:gd name="connsiteY0" fmla="*/ 621034 h 621034"/>
              <a:gd name="connsiteX1" fmla="*/ 1 w 1178409"/>
              <a:gd name="connsiteY1" fmla="*/ 0 h 621034"/>
              <a:gd name="connsiteX2" fmla="*/ 1003647 w 1178409"/>
              <a:gd name="connsiteY2" fmla="*/ 4340 h 621034"/>
              <a:gd name="connsiteX3" fmla="*/ 1178409 w 1178409"/>
              <a:gd name="connsiteY3" fmla="*/ 621034 h 621034"/>
              <a:gd name="connsiteX0" fmla="*/ 1178409 w 1178409"/>
              <a:gd name="connsiteY0" fmla="*/ 621034 h 621034"/>
              <a:gd name="connsiteX1" fmla="*/ 1 w 1178409"/>
              <a:gd name="connsiteY1" fmla="*/ 0 h 621034"/>
              <a:gd name="connsiteX2" fmla="*/ 1003647 w 1178409"/>
              <a:gd name="connsiteY2" fmla="*/ 4340 h 621034"/>
              <a:gd name="connsiteX3" fmla="*/ 1178409 w 1178409"/>
              <a:gd name="connsiteY3" fmla="*/ 621034 h 621034"/>
              <a:gd name="connsiteX0" fmla="*/ 1041198 w 1041198"/>
              <a:gd name="connsiteY0" fmla="*/ 621034 h 621034"/>
              <a:gd name="connsiteX1" fmla="*/ 1 w 1041198"/>
              <a:gd name="connsiteY1" fmla="*/ 0 h 621034"/>
              <a:gd name="connsiteX2" fmla="*/ 1003647 w 1041198"/>
              <a:gd name="connsiteY2" fmla="*/ 4340 h 621034"/>
              <a:gd name="connsiteX3" fmla="*/ 1041198 w 1041198"/>
              <a:gd name="connsiteY3" fmla="*/ 621034 h 6210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1198" h="621034">
                <a:moveTo>
                  <a:pt x="1041198" y="621034"/>
                </a:moveTo>
                <a:lnTo>
                  <a:pt x="1" y="0"/>
                </a:lnTo>
                <a:lnTo>
                  <a:pt x="1003647" y="4340"/>
                </a:lnTo>
                <a:lnTo>
                  <a:pt x="1041198" y="62103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000"/>
              </a:spcAft>
            </a:pPr>
            <a:endParaRPr lang="de-DE" sz="1800" dirty="0" err="1">
              <a:solidFill>
                <a:schemeClr val="bg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E010BD4-3D0B-139A-E898-59E2E9BFE01D}"/>
              </a:ext>
            </a:extLst>
          </p:cNvPr>
          <p:cNvSpPr/>
          <p:nvPr/>
        </p:nvSpPr>
        <p:spPr>
          <a:xfrm>
            <a:off x="359247" y="2759434"/>
            <a:ext cx="1800200" cy="1510640"/>
          </a:xfrm>
          <a:prstGeom prst="rect">
            <a:avLst/>
          </a:prstGeom>
          <a:solidFill>
            <a:srgbClr val="0068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0" bIns="144000" rtlCol="0" anchor="ctr" anchorCtr="0"/>
          <a:lstStyle/>
          <a:p>
            <a:pPr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</a:pPr>
            <a:r>
              <a:rPr lang="de-DE" sz="2000" b="1" dirty="0">
                <a:solidFill>
                  <a:schemeClr val="bg1"/>
                </a:solidFill>
              </a:rPr>
              <a:t>Satzung/</a:t>
            </a:r>
            <a:br>
              <a:rPr lang="de-DE" sz="2000" b="1" dirty="0">
                <a:solidFill>
                  <a:schemeClr val="bg1"/>
                </a:solidFill>
              </a:rPr>
            </a:br>
            <a:r>
              <a:rPr lang="de-DE" sz="2000" b="1" dirty="0">
                <a:solidFill>
                  <a:schemeClr val="bg1"/>
                </a:solidFill>
              </a:rPr>
              <a:t>Allgemeine Geschäfts-bedingungen</a:t>
            </a:r>
            <a:br>
              <a:rPr lang="de-DE" sz="2000" b="1" dirty="0">
                <a:solidFill>
                  <a:schemeClr val="bg1"/>
                </a:solidFill>
              </a:rPr>
            </a:br>
            <a:r>
              <a:rPr lang="de-DE" sz="2000" dirty="0">
                <a:solidFill>
                  <a:schemeClr val="bg1"/>
                </a:solidFill>
              </a:rPr>
              <a:t>PDF/Link</a:t>
            </a:r>
            <a:endParaRPr lang="de-DE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804491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471E46-8035-4B59-8679-3BEB64B76E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94FE3-13F1-488F-8D8D-7B845DDDA421}" type="datetime1">
              <a:rPr lang="de-DE" smtClean="0"/>
              <a:t>24.11.2022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95AC946-B361-4EE4-9781-15C2A76A49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wasserportal.info: Infoservice für Wasserversorger und ihre Kunden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3F496BE-F9E4-42A7-ACA3-588F244A6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44F12-EB88-474F-BA5E-385A9C5524F3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F68159BD-8741-46F2-AE10-CA1F19755E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1211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E7A26D-0EAA-7CC2-63A5-071E595E3A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ED479E2-FEB4-4E05-8C78-0C3913D1668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Dr. Jörg Rehberg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EE5CA23-58E8-482C-9401-6449BEA2DF6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ioerg.rehberg@bdew.d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36248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23"/>
          <p:cNvSpPr>
            <a:spLocks noGrp="1"/>
          </p:cNvSpPr>
          <p:nvPr>
            <p:ph type="title"/>
          </p:nvPr>
        </p:nvSpPr>
        <p:spPr>
          <a:xfrm>
            <a:off x="431257" y="864639"/>
            <a:ext cx="8568950" cy="647628"/>
          </a:xfrm>
        </p:spPr>
        <p:txBody>
          <a:bodyPr/>
          <a:lstStyle/>
          <a:p>
            <a:r>
              <a:rPr lang="de-DE" dirty="0"/>
              <a:t>Ab 2023: Neue Informationspflichten für Wasserversorgungs-</a:t>
            </a:r>
            <a:br>
              <a:rPr lang="de-DE" dirty="0"/>
            </a:br>
            <a:r>
              <a:rPr lang="de-DE" dirty="0"/>
              <a:t>unternehmen gemäß Trinkwasserverordnung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C68A9-AE41-434D-8403-E8ACA12306FB}" type="datetime1">
              <a:rPr lang="de-DE" smtClean="0"/>
              <a:t>24.11.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F047C2-1175-4143-8F36-21988CCA1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wasserportal.info: Infoservice für Wasserversorger und ihre Kund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94D56DE-51C3-4BCC-8440-5E9302122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44F12-EB88-474F-BA5E-385A9C5524F3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3" name="Textplatzhalter 24">
            <a:extLst>
              <a:ext uri="{FF2B5EF4-FFF2-40B4-BE49-F238E27FC236}">
                <a16:creationId xmlns:a16="http://schemas.microsoft.com/office/drawing/2014/main" id="{2E9C3791-03E3-B89F-A476-0A7746F9A877}"/>
              </a:ext>
            </a:extLst>
          </p:cNvPr>
          <p:cNvSpPr txBox="1">
            <a:spLocks/>
          </p:cNvSpPr>
          <p:nvPr/>
        </p:nvSpPr>
        <p:spPr>
          <a:xfrm>
            <a:off x="6046209" y="1800000"/>
            <a:ext cx="2737427" cy="1008112"/>
          </a:xfrm>
          <a:prstGeom prst="rect">
            <a:avLst/>
          </a:prstGeom>
          <a:solidFill>
            <a:srgbClr val="0068AF"/>
          </a:solidFill>
        </p:spPr>
        <p:txBody>
          <a:bodyPr vert="horz" lIns="90000" tIns="90000" rIns="90000" bIns="90000" rtlCol="0">
            <a:no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de-DE" b="1" dirty="0">
                <a:solidFill>
                  <a:schemeClr val="bg1"/>
                </a:solidFill>
              </a:rPr>
              <a:t>Preise</a:t>
            </a:r>
            <a:r>
              <a:rPr lang="de-DE" dirty="0">
                <a:solidFill>
                  <a:schemeClr val="bg1"/>
                </a:solidFill>
              </a:rPr>
              <a:t> 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Gesamtkosten pro Person/Jahr, m³, Liter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582EBF0-96E4-2292-00B5-44C193E829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077388" y="3096443"/>
            <a:ext cx="914400" cy="9144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24BF3F3C-6D97-730A-ECBA-9DFFA831B4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6957722" y="3096443"/>
            <a:ext cx="914400" cy="914400"/>
          </a:xfrm>
          <a:prstGeom prst="rect">
            <a:avLst/>
          </a:prstGeom>
        </p:spPr>
      </p:pic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3007DA54-5260-CC45-5381-36778273B4CB}"/>
              </a:ext>
            </a:extLst>
          </p:cNvPr>
          <p:cNvSpPr txBox="1">
            <a:spLocks/>
          </p:cNvSpPr>
          <p:nvPr/>
        </p:nvSpPr>
        <p:spPr>
          <a:xfrm>
            <a:off x="431802" y="4276727"/>
            <a:ext cx="8352382" cy="525760"/>
          </a:xfrm>
          <a:prstGeom prst="rect">
            <a:avLst/>
          </a:prstGeom>
        </p:spPr>
        <p:txBody>
          <a:bodyPr lIns="0"/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ür die Umsetzung der Anforderungen der neuen Trinkwasserverordnung hat der BDEW </a:t>
            </a:r>
            <a:r>
              <a:rPr lang="de-DE" sz="1400" u="sng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ustercharts</a:t>
            </a:r>
            <a:r>
              <a:rPr lang="de-DE" sz="14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erarbeitet, die bereits mit dem Bundesgesundheitsministerium abgestimmt und Grundlage für das Wasserportal sind.</a:t>
            </a:r>
            <a:endParaRPr lang="de-DE" sz="1400" i="1" dirty="0">
              <a:solidFill>
                <a:schemeClr val="accent2"/>
              </a:solidFill>
            </a:endParaRPr>
          </a:p>
        </p:txBody>
      </p:sp>
      <p:sp>
        <p:nvSpPr>
          <p:cNvPr id="9" name="Textplatzhalter 24">
            <a:extLst>
              <a:ext uri="{FF2B5EF4-FFF2-40B4-BE49-F238E27FC236}">
                <a16:creationId xmlns:a16="http://schemas.microsoft.com/office/drawing/2014/main" id="{AC82153B-593B-482D-C979-BC83C4CE5417}"/>
              </a:ext>
            </a:extLst>
          </p:cNvPr>
          <p:cNvSpPr txBox="1">
            <a:spLocks/>
          </p:cNvSpPr>
          <p:nvPr/>
        </p:nvSpPr>
        <p:spPr>
          <a:xfrm>
            <a:off x="3239006" y="1800000"/>
            <a:ext cx="2591165" cy="1008112"/>
          </a:xfrm>
          <a:prstGeom prst="rect">
            <a:avLst/>
          </a:prstGeom>
          <a:solidFill>
            <a:srgbClr val="0068AF"/>
          </a:solidFill>
        </p:spPr>
        <p:txBody>
          <a:bodyPr vert="horz" lIns="90000" tIns="90000" rIns="0" bIns="0" rtlCol="0">
            <a:no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Font typeface="Calibri" panose="020F0502020204030204" pitchFamily="34" charset="0"/>
              <a:buNone/>
            </a:pPr>
            <a:r>
              <a:rPr lang="de-DE" b="1" dirty="0">
                <a:solidFill>
                  <a:schemeClr val="bg1"/>
                </a:solidFill>
              </a:rPr>
              <a:t>Eigene Leistungs-fähigkeit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7" name="Textplatzhalter 24">
            <a:extLst>
              <a:ext uri="{FF2B5EF4-FFF2-40B4-BE49-F238E27FC236}">
                <a16:creationId xmlns:a16="http://schemas.microsoft.com/office/drawing/2014/main" id="{28A5A28A-3857-9F39-34FD-624DC6719303}"/>
              </a:ext>
            </a:extLst>
          </p:cNvPr>
          <p:cNvSpPr txBox="1">
            <a:spLocks/>
          </p:cNvSpPr>
          <p:nvPr/>
        </p:nvSpPr>
        <p:spPr>
          <a:xfrm>
            <a:off x="431254" y="1800000"/>
            <a:ext cx="2591165" cy="1008112"/>
          </a:xfrm>
          <a:prstGeom prst="rect">
            <a:avLst/>
          </a:prstGeom>
          <a:solidFill>
            <a:srgbClr val="0068AF"/>
          </a:solidFill>
        </p:spPr>
        <p:txBody>
          <a:bodyPr vert="horz" lIns="90000" tIns="90000" rIns="0" bIns="0" rtlCol="0">
            <a:no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Font typeface="Calibri" panose="020F0502020204030204" pitchFamily="34" charset="0"/>
              <a:buNone/>
            </a:pPr>
            <a:r>
              <a:rPr lang="de-DE" b="1" dirty="0">
                <a:solidFill>
                  <a:schemeClr val="bg1"/>
                </a:solidFill>
              </a:rPr>
              <a:t>Qualität des</a:t>
            </a:r>
            <a:br>
              <a:rPr lang="de-DE" b="1" dirty="0">
                <a:solidFill>
                  <a:schemeClr val="bg1"/>
                </a:solidFill>
              </a:rPr>
            </a:br>
            <a:r>
              <a:rPr lang="de-DE" b="1" dirty="0">
                <a:solidFill>
                  <a:schemeClr val="bg1"/>
                </a:solidFill>
              </a:rPr>
              <a:t>Trinkwassers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C2F90C9-C2A1-9F03-9F8B-604E78312ED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269636" y="3096443"/>
            <a:ext cx="914400" cy="9144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404915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418904B-E9AF-F3D2-3F36-D2D22EF98AA4}"/>
              </a:ext>
            </a:extLst>
          </p:cNvPr>
          <p:cNvSpPr/>
          <p:nvPr/>
        </p:nvSpPr>
        <p:spPr>
          <a:xfrm>
            <a:off x="6531250" y="1800225"/>
            <a:ext cx="2252386" cy="3185518"/>
          </a:xfrm>
          <a:prstGeom prst="rect">
            <a:avLst/>
          </a:prstGeom>
          <a:solidFill>
            <a:srgbClr val="BFD9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000"/>
              </a:spcAft>
            </a:pPr>
            <a:endParaRPr lang="de-DE" sz="1800" dirty="0" err="1">
              <a:solidFill>
                <a:schemeClr val="bg1"/>
              </a:solidFill>
            </a:endParaRPr>
          </a:p>
        </p:txBody>
      </p:sp>
      <p:sp>
        <p:nvSpPr>
          <p:cNvPr id="9" name="AutoShape 11">
            <a:extLst>
              <a:ext uri="{FF2B5EF4-FFF2-40B4-BE49-F238E27FC236}">
                <a16:creationId xmlns:a16="http://schemas.microsoft.com/office/drawing/2014/main" id="{BE895373-DDC1-85A0-ED76-FB05061E3E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74764" y="2312969"/>
            <a:ext cx="1960783" cy="2486379"/>
          </a:xfrm>
          <a:prstGeom prst="chevron">
            <a:avLst>
              <a:gd name="adj" fmla="val 0"/>
            </a:avLst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0" anchor="t" anchorCtr="0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600" b="1" kern="0" dirty="0">
              <a:solidFill>
                <a:srgbClr val="FFFFFF"/>
              </a:solidFill>
              <a:latin typeface="Trebuchet MS" panose="020B0603020202020204" pitchFamily="34" charset="0"/>
              <a:cs typeface="Arial" charset="0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55A2622-5841-B428-5BDA-0E82A17570D8}"/>
              </a:ext>
            </a:extLst>
          </p:cNvPr>
          <p:cNvGrpSpPr/>
          <p:nvPr/>
        </p:nvGrpSpPr>
        <p:grpSpPr>
          <a:xfrm>
            <a:off x="6565860" y="1893091"/>
            <a:ext cx="2411188" cy="332798"/>
            <a:chOff x="5575260" y="1893091"/>
            <a:chExt cx="2411188" cy="332798"/>
          </a:xfrm>
        </p:grpSpPr>
        <p:sp>
          <p:nvSpPr>
            <p:cNvPr id="13" name="Inhaltsplatzhalter 11">
              <a:extLst>
                <a:ext uri="{FF2B5EF4-FFF2-40B4-BE49-F238E27FC236}">
                  <a16:creationId xmlns:a16="http://schemas.microsoft.com/office/drawing/2014/main" id="{60099ABC-0C1C-956F-AE15-B715F2ECF5FA}"/>
                </a:ext>
              </a:extLst>
            </p:cNvPr>
            <p:cNvSpPr txBox="1">
              <a:spLocks/>
            </p:cNvSpPr>
            <p:nvPr/>
          </p:nvSpPr>
          <p:spPr>
            <a:xfrm>
              <a:off x="5903863" y="1937784"/>
              <a:ext cx="2082585" cy="28810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360000" indent="-360000" algn="l" defTabSz="691157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500"/>
                </a:spcAft>
                <a:buClr>
                  <a:schemeClr val="bg2"/>
                </a:buClr>
                <a:buFont typeface="Calibri" panose="020F050202020403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20000" indent="-360000" algn="l" defTabSz="691157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250"/>
                </a:spcAft>
                <a:buClr>
                  <a:schemeClr val="bg2"/>
                </a:buClr>
                <a:buFont typeface="Calibri" panose="020F0502020204030204" pitchFamily="34" charset="0"/>
                <a:buChar char="◦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80000" indent="-360000" algn="l" defTabSz="691157" rtl="0" eaLnBrk="1" latinLnBrk="0" hangingPunct="1">
                <a:lnSpc>
                  <a:spcPct val="90000"/>
                </a:lnSpc>
                <a:spcBef>
                  <a:spcPts val="250"/>
                </a:spcBef>
                <a:spcAft>
                  <a:spcPts val="150"/>
                </a:spcAft>
                <a:buClr>
                  <a:schemeClr val="tx1"/>
                </a:buClr>
                <a:buFont typeface="Calibri" panose="020F0502020204030204" pitchFamily="34" charset="0"/>
                <a:buChar char="◦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0000" indent="-360000" algn="l" defTabSz="691157" rtl="0" eaLnBrk="1" latinLnBrk="0" hangingPunct="1">
                <a:lnSpc>
                  <a:spcPct val="90000"/>
                </a:lnSpc>
                <a:spcBef>
                  <a:spcPts val="150"/>
                </a:spcBef>
                <a:spcAft>
                  <a:spcPts val="0"/>
                </a:spcAft>
                <a:buClr>
                  <a:schemeClr val="tx1"/>
                </a:buClr>
                <a:buFont typeface="Calibri" panose="020F0502020204030204" pitchFamily="34" charset="0"/>
                <a:buChar char="­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0" indent="-360000" algn="l" defTabSz="691157" rtl="0" eaLnBrk="1" latinLnBrk="0" hangingPunct="1">
                <a:lnSpc>
                  <a:spcPct val="90000"/>
                </a:lnSpc>
                <a:spcBef>
                  <a:spcPts val="100"/>
                </a:spcBef>
                <a:buClrTx/>
                <a:buFont typeface="Calibri" panose="020F0502020204030204" pitchFamily="34" charset="0"/>
                <a:buChar char="­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00683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46262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91840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37419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Calibri" panose="020F0502020204030204" pitchFamily="34" charset="0"/>
                <a:buNone/>
              </a:pPr>
              <a:r>
                <a:rPr lang="de-DE" sz="700" b="1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wvs</a:t>
              </a:r>
              <a:r>
                <a:rPr lang="de-DE" sz="700" dirty="0">
                  <a:solidFill>
                    <a:schemeClr val="accent3"/>
                  </a:solidFill>
                  <a:latin typeface="Arial Narrow" panose="020B0606020202030204" pitchFamily="34" charset="0"/>
                </a:rPr>
                <a:t> 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Calibri" panose="020F0502020204030204" pitchFamily="34" charset="0"/>
                <a:buNone/>
              </a:pPr>
              <a:r>
                <a:rPr lang="de-DE" sz="700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wasserversorgung</a:t>
              </a:r>
              <a:r>
                <a:rPr lang="de-DE" sz="700" dirty="0">
                  <a:solidFill>
                    <a:schemeClr val="accent3"/>
                  </a:solidFill>
                  <a:latin typeface="Arial Narrow" panose="020B0606020202030204" pitchFamily="34" charset="0"/>
                </a:rPr>
                <a:t> </a:t>
              </a:r>
              <a:r>
                <a:rPr lang="de-DE" sz="700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musterstadt</a:t>
              </a:r>
              <a:endParaRPr lang="de-DE" sz="700" dirty="0">
                <a:solidFill>
                  <a:schemeClr val="accent3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816F46D0-E4FD-99FC-1521-F4F030CF4B2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575260" y="1893091"/>
              <a:ext cx="329631" cy="329631"/>
            </a:xfrm>
            <a:prstGeom prst="rect">
              <a:avLst/>
            </a:prstGeom>
          </p:spPr>
        </p:pic>
      </p:grp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2A76F1-48F2-4E7E-B91A-F603600486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Folie" r:id="rId7" imgW="351" imgH="351" progId="TCLayout.ActiveDocument.1">
                  <p:embed/>
                </p:oleObj>
              </mc:Choice>
              <mc:Fallback>
                <p:oleObj name="think-cell Folie" r:id="rId7" imgW="351" imgH="35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2A76F1-48F2-4E7E-B91A-F60360048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557BE8D-BF10-4E77-A598-C18604FA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istungsfähigkeit der Wasserversorgung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05D633D6-8921-D9F5-A64D-39047F7A95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802" y="1800225"/>
            <a:ext cx="4933052" cy="3168426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Darstellung anhand der Wertschöpfungskette</a:t>
            </a:r>
            <a:br>
              <a:rPr lang="de-DE" b="1" dirty="0"/>
            </a:br>
            <a:r>
              <a:rPr lang="de-DE" b="1" dirty="0"/>
              <a:t>des Versorgungsunternehmens</a:t>
            </a:r>
          </a:p>
          <a:p>
            <a:pPr>
              <a:spcAft>
                <a:spcPts val="0"/>
              </a:spcAft>
            </a:pPr>
            <a:r>
              <a:rPr lang="de-DE" dirty="0"/>
              <a:t>Anzahl der versorgten Einwohner </a:t>
            </a:r>
          </a:p>
          <a:p>
            <a:pPr>
              <a:spcAft>
                <a:spcPts val="0"/>
              </a:spcAft>
            </a:pPr>
            <a:r>
              <a:rPr lang="de-DE" dirty="0"/>
              <a:t>Informationen zur Wassergewinnung </a:t>
            </a:r>
            <a:br>
              <a:rPr lang="de-DE" dirty="0"/>
            </a:br>
            <a:r>
              <a:rPr lang="de-DE" dirty="0"/>
              <a:t>und -aufbereitung</a:t>
            </a:r>
          </a:p>
          <a:p>
            <a:r>
              <a:rPr lang="de-DE" dirty="0"/>
              <a:t>Beschreibung der Leistungsfähigkeit </a:t>
            </a:r>
            <a:br>
              <a:rPr lang="de-DE" dirty="0"/>
            </a:br>
            <a:r>
              <a:rPr lang="de-DE" dirty="0"/>
              <a:t>des Wassersystems: </a:t>
            </a:r>
          </a:p>
          <a:p>
            <a:pPr marL="534988" lvl="1" indent="-174625">
              <a:spcBef>
                <a:spcPts val="0"/>
              </a:spcBef>
              <a:spcAft>
                <a:spcPts val="0"/>
              </a:spcAft>
            </a:pPr>
            <a:r>
              <a:rPr lang="de-DE" sz="1800" dirty="0"/>
              <a:t>Netzlänge [km]</a:t>
            </a:r>
          </a:p>
          <a:p>
            <a:pPr marL="534988" lvl="1" indent="-174625">
              <a:spcBef>
                <a:spcPts val="0"/>
              </a:spcBef>
              <a:spcAft>
                <a:spcPts val="0"/>
              </a:spcAft>
            </a:pPr>
            <a:r>
              <a:rPr lang="de-DE" sz="1800" dirty="0"/>
              <a:t>Jährliche Fördermenge und Spitzenabgabe (m³)</a:t>
            </a:r>
          </a:p>
          <a:p>
            <a:pPr marL="534988" lvl="1" indent="-174625">
              <a:spcBef>
                <a:spcPts val="0"/>
              </a:spcBef>
              <a:spcAft>
                <a:spcPts val="0"/>
              </a:spcAft>
            </a:pPr>
            <a:r>
              <a:rPr lang="de-DE" sz="1800" dirty="0"/>
              <a:t>Anschlussgrad [%]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28E859-2E8A-4E73-924D-B233B84DC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4797E-B392-49A0-8014-EEF443BABED9}" type="datetime1">
              <a:rPr lang="de-DE" smtClean="0"/>
              <a:t>24.11.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A9F075A-7343-43DD-A372-C83DE184EE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wasserportal.info: Infoservice für Wasserversorger und ihre Kund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44CE059-5239-46F8-A74C-7E81A9C04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3" name="AutoShape 11">
            <a:extLst>
              <a:ext uri="{FF2B5EF4-FFF2-40B4-BE49-F238E27FC236}">
                <a16:creationId xmlns:a16="http://schemas.microsoft.com/office/drawing/2014/main" id="{E0F02114-354B-EA2C-7BB3-DFDF97E582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7844632" y="2312969"/>
            <a:ext cx="831395" cy="252000"/>
          </a:xfrm>
          <a:prstGeom prst="chevron">
            <a:avLst>
              <a:gd name="adj" fmla="val 0"/>
            </a:avLst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0" anchor="t" anchorCtr="0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600" kern="0" dirty="0">
                <a:solidFill>
                  <a:srgbClr val="FFFFFF"/>
                </a:solidFill>
                <a:latin typeface="Arial Narrow" panose="020B0606020202030204" pitchFamily="34" charset="0"/>
                <a:cs typeface="Arial" charset="0"/>
              </a:rPr>
              <a:t>Verteilung</a:t>
            </a:r>
          </a:p>
        </p:txBody>
      </p:sp>
      <p:sp>
        <p:nvSpPr>
          <p:cNvPr id="34" name="AutoShape 9">
            <a:extLst>
              <a:ext uri="{FF2B5EF4-FFF2-40B4-BE49-F238E27FC236}">
                <a16:creationId xmlns:a16="http://schemas.microsoft.com/office/drawing/2014/main" id="{14820FF3-EAC1-BD36-0F79-0FAD272A11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7106050" y="2312969"/>
            <a:ext cx="383667" cy="252000"/>
          </a:xfrm>
          <a:prstGeom prst="chevron">
            <a:avLst>
              <a:gd name="adj" fmla="val 0"/>
            </a:avLst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0" anchor="t" anchorCtr="0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600" kern="0" dirty="0">
                <a:solidFill>
                  <a:srgbClr val="FFFFFF"/>
                </a:solidFill>
                <a:latin typeface="Arial Narrow" panose="020B0606020202030204" pitchFamily="34" charset="0"/>
                <a:cs typeface="Arial" charset="0"/>
              </a:rPr>
              <a:t>Gewinnung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600" kern="0" dirty="0">
                <a:solidFill>
                  <a:srgbClr val="FFFFFF"/>
                </a:solidFill>
                <a:latin typeface="Arial Narrow" panose="020B0606020202030204" pitchFamily="34" charset="0"/>
                <a:cs typeface="Arial" charset="0"/>
              </a:rPr>
              <a:t>und Bezug </a:t>
            </a:r>
          </a:p>
        </p:txBody>
      </p:sp>
      <p:sp>
        <p:nvSpPr>
          <p:cNvPr id="35" name="AutoShape 10">
            <a:extLst>
              <a:ext uri="{FF2B5EF4-FFF2-40B4-BE49-F238E27FC236}">
                <a16:creationId xmlns:a16="http://schemas.microsoft.com/office/drawing/2014/main" id="{BF939672-6D34-7A4D-4A07-E7D8366861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04260" y="2312969"/>
            <a:ext cx="325873" cy="252000"/>
          </a:xfrm>
          <a:prstGeom prst="chevron">
            <a:avLst>
              <a:gd name="adj" fmla="val 0"/>
            </a:avLst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0" anchor="t" anchorCtr="0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600" kern="0" dirty="0">
                <a:solidFill>
                  <a:srgbClr val="FFFFFF"/>
                </a:solidFill>
                <a:latin typeface="Arial Narrow" panose="020B0606020202030204" pitchFamily="34" charset="0"/>
                <a:cs typeface="Arial" charset="0"/>
              </a:rPr>
              <a:t>Auf-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600" kern="0" dirty="0" err="1">
                <a:solidFill>
                  <a:srgbClr val="FFFFFF"/>
                </a:solidFill>
                <a:latin typeface="Arial Narrow" panose="020B0606020202030204" pitchFamily="34" charset="0"/>
                <a:cs typeface="Arial" charset="0"/>
              </a:rPr>
              <a:t>bereitung</a:t>
            </a:r>
            <a:endParaRPr lang="de-DE" sz="600" kern="0" dirty="0">
              <a:solidFill>
                <a:srgbClr val="FFFFFF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36" name="AutoShape 7">
            <a:hlinkClick r:id="" action="ppaction://hlinkshowjump?jump=nextslide"/>
            <a:extLst>
              <a:ext uri="{FF2B5EF4-FFF2-40B4-BE49-F238E27FC236}">
                <a16:creationId xmlns:a16="http://schemas.microsoft.com/office/drawing/2014/main" id="{063C2D2B-FE70-B9DF-CA2B-30635CF86F1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74764" y="2312969"/>
            <a:ext cx="422390" cy="252000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0" anchor="t" anchorCtr="0"/>
          <a:lstStyle/>
          <a:p>
            <a:pPr marL="0" marR="0" lvl="0" indent="0" defTabSz="91440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6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cs typeface="Arial" charset="0"/>
              </a:rPr>
              <a:t>Ressourcen-</a:t>
            </a:r>
            <a:br>
              <a:rPr kumimoji="0" lang="de-DE" sz="6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cs typeface="Arial" charset="0"/>
              </a:rPr>
            </a:br>
            <a:r>
              <a:rPr kumimoji="0" lang="de-DE" sz="6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 panose="020B0606020202030204" pitchFamily="34" charset="0"/>
                <a:cs typeface="Arial" charset="0"/>
              </a:rPr>
              <a:t>management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54BCAE85-C256-C1F9-F43D-2518417C6CA6}"/>
              </a:ext>
            </a:extLst>
          </p:cNvPr>
          <p:cNvCxnSpPr>
            <a:cxnSpLocks/>
          </p:cNvCxnSpPr>
          <p:nvPr/>
        </p:nvCxnSpPr>
        <p:spPr>
          <a:xfrm>
            <a:off x="7839869" y="2574201"/>
            <a:ext cx="0" cy="1530354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55C24AD1-C529-545A-38C8-8901B47BC8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39717" y="2644142"/>
            <a:ext cx="1024815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0" defTabSz="914400" fontAlgn="t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r gewinnen unser Trink-wasser aus eigenen Tief-brunnen (ca. 75 %) und bereiten es mit Hilfe von Belüftung und </a:t>
            </a:r>
            <a:r>
              <a:rPr lang="de-DE" sz="600" kern="0" dirty="0">
                <a:solidFill>
                  <a:srgbClr val="000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ltration </a:t>
            </a:r>
            <a: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f.</a:t>
            </a:r>
          </a:p>
          <a:p>
            <a:pPr lvl="0" defTabSz="914400" fontAlgn="t">
              <a:spcBef>
                <a:spcPct val="0"/>
              </a:spcBef>
              <a:spcAft>
                <a:spcPct val="0"/>
              </a:spcAft>
              <a:defRPr/>
            </a:pPr>
            <a:endParaRPr lang="de-DE" sz="600" kern="0" dirty="0">
              <a:solidFill>
                <a:srgbClr val="000000"/>
              </a:solidFill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defTabSz="914400" fontAlgn="t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 kern="0" dirty="0">
                <a:solidFill>
                  <a:srgbClr val="000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ßerdem</a:t>
            </a:r>
            <a: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eziehen wir </a:t>
            </a:r>
            <a:r>
              <a:rPr lang="de-DE" sz="600" kern="0" dirty="0">
                <a:solidFill>
                  <a:srgbClr val="000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n der Fernwasserversorgung Klar aufbereitetes Talsperren-wasser </a:t>
            </a:r>
            <a:br>
              <a:rPr lang="de-DE" sz="600" kern="0" dirty="0">
                <a:solidFill>
                  <a:srgbClr val="000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600" kern="0" dirty="0">
                <a:solidFill>
                  <a:srgbClr val="000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ca. 25 %) aus der Muster-Talsperre im Musterwald.</a:t>
            </a:r>
            <a:endParaRPr kumimoji="0" lang="de-DE" sz="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Textfeld 100">
            <a:extLst>
              <a:ext uri="{FF2B5EF4-FFF2-40B4-BE49-F238E27FC236}">
                <a16:creationId xmlns:a16="http://schemas.microsoft.com/office/drawing/2014/main" id="{EED1CB92-D7B5-4CC1-6679-A4E53E0D7A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65856" y="2644142"/>
            <a:ext cx="739804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600" kern="0" dirty="0">
                <a:solidFill>
                  <a:srgbClr val="000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r beliefern auf </a:t>
            </a:r>
            <a:br>
              <a:rPr lang="de-DE" sz="600" kern="0" dirty="0">
                <a:solidFill>
                  <a:srgbClr val="000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. 650 km² ca. 110.000 Einwohner und Betriebe sowie öffentliche Ein-</a:t>
            </a:r>
            <a:b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de-DE" sz="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ichtungen</a:t>
            </a:r>
            <a: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über ein </a:t>
            </a:r>
            <a:b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. </a:t>
            </a:r>
            <a:r>
              <a:rPr lang="de-DE" sz="600" kern="0" dirty="0">
                <a:solidFill>
                  <a:srgbClr val="000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160</a:t>
            </a:r>
            <a: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km langes </a:t>
            </a:r>
            <a:b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tz mit </a:t>
            </a:r>
            <a:r>
              <a:rPr lang="de-DE" sz="600" kern="0" dirty="0">
                <a:solidFill>
                  <a:srgbClr val="000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inkwasser. </a:t>
            </a:r>
            <a:br>
              <a:rPr lang="de-DE" sz="600" kern="0" dirty="0">
                <a:solidFill>
                  <a:srgbClr val="000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600" kern="0" dirty="0">
                <a:solidFill>
                  <a:srgbClr val="000000"/>
                </a:solidFill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i einem </a:t>
            </a:r>
            <a: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schluss-</a:t>
            </a:r>
            <a:b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rad von ca. 99,5 % </a:t>
            </a:r>
            <a:b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liefern wir ca. </a:t>
            </a:r>
            <a:b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,2 Mio. m³/Jahr mit </a:t>
            </a:r>
            <a:b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iner Abgabe von </a:t>
            </a:r>
            <a:b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rchschnittlich </a:t>
            </a:r>
            <a:b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. 14.250 m³/Tag (Spitzenabgabe </a:t>
            </a:r>
            <a:b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. 24.000 m³/Tag).</a:t>
            </a:r>
          </a:p>
        </p:txBody>
      </p:sp>
      <p:pic>
        <p:nvPicPr>
          <p:cNvPr id="11" name="Grafik 10" descr="Büroklammer Silhouette">
            <a:extLst>
              <a:ext uri="{FF2B5EF4-FFF2-40B4-BE49-F238E27FC236}">
                <a16:creationId xmlns:a16="http://schemas.microsoft.com/office/drawing/2014/main" id="{7881E0F4-3CAE-6DA4-F4EB-B0CF9786E49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414199" y="1692410"/>
            <a:ext cx="325401" cy="32540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A952EAA2-2D07-99F2-74C7-46B6C957201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4764" y="4250596"/>
            <a:ext cx="1960784" cy="548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9006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2A76F1-48F2-4E7E-B91A-F603600486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2A76F1-48F2-4E7E-B91A-F60360048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557BE8D-BF10-4E77-A598-C18604FA4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gabe der spezifischen Wasserverluste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05D633D6-8921-D9F5-A64D-39047F7A95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b="1" dirty="0"/>
              <a:t>Zur Angabe der spezifischen Wasserverluste werden </a:t>
            </a:r>
            <a:br>
              <a:rPr lang="de-DE" b="1" dirty="0"/>
            </a:br>
            <a:r>
              <a:rPr lang="de-DE" b="1" dirty="0"/>
              <a:t>die realen Verluste hergeleitet und eingeordnet</a:t>
            </a:r>
          </a:p>
          <a:p>
            <a:r>
              <a:rPr lang="de-DE" dirty="0"/>
              <a:t>Herleitung des spezifischen Wasserverlusts:  </a:t>
            </a:r>
          </a:p>
          <a:p>
            <a:pPr lvl="1">
              <a:spcAft>
                <a:spcPts val="0"/>
              </a:spcAft>
            </a:pPr>
            <a:r>
              <a:rPr lang="de-DE" dirty="0"/>
              <a:t>Jährliche Wasserförderung</a:t>
            </a:r>
          </a:p>
          <a:p>
            <a:pPr lvl="1">
              <a:spcAft>
                <a:spcPts val="0"/>
              </a:spcAft>
            </a:pPr>
            <a:r>
              <a:rPr lang="de-DE" dirty="0"/>
              <a:t>Wasserwerkseigenverbrauch </a:t>
            </a:r>
          </a:p>
          <a:p>
            <a:pPr lvl="1">
              <a:spcAft>
                <a:spcPts val="0"/>
              </a:spcAft>
            </a:pPr>
            <a:r>
              <a:rPr lang="de-DE" dirty="0"/>
              <a:t>Jährlicher Wasserabgabe </a:t>
            </a:r>
          </a:p>
          <a:p>
            <a:pPr lvl="1"/>
            <a:r>
              <a:rPr lang="de-DE" dirty="0"/>
              <a:t>Reale Wasserverluste</a:t>
            </a:r>
          </a:p>
          <a:p>
            <a:r>
              <a:rPr lang="de-DE" dirty="0"/>
              <a:t>Einstufung in niedrig/mittel/hoch gemäß DVGW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28E859-2E8A-4E73-924D-B233B84DC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8A7529-E417-4FC0-8A95-EDC2B3840A75}" type="datetime1">
              <a:rPr lang="de-DE" smtClean="0"/>
              <a:t>24.11.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A9F075A-7343-43DD-A372-C83DE184EE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wasserportal.info: Infoservice für Wasserversorger und ihre Kund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44CE059-5239-46F8-A74C-7E81A9C04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31905EE-01EC-6B89-6EC7-AD2F730FE2F8}"/>
              </a:ext>
            </a:extLst>
          </p:cNvPr>
          <p:cNvSpPr/>
          <p:nvPr/>
        </p:nvSpPr>
        <p:spPr>
          <a:xfrm>
            <a:off x="6528962" y="1800225"/>
            <a:ext cx="2252386" cy="3185518"/>
          </a:xfrm>
          <a:prstGeom prst="rect">
            <a:avLst/>
          </a:prstGeom>
          <a:solidFill>
            <a:srgbClr val="BFD9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000"/>
              </a:spcAft>
            </a:pPr>
            <a:endParaRPr lang="de-DE" sz="1800" dirty="0" err="1">
              <a:solidFill>
                <a:schemeClr val="bg1"/>
              </a:solidFill>
            </a:endParaRPr>
          </a:p>
        </p:txBody>
      </p:sp>
      <p:sp>
        <p:nvSpPr>
          <p:cNvPr id="21" name="AutoShape 11">
            <a:extLst>
              <a:ext uri="{FF2B5EF4-FFF2-40B4-BE49-F238E27FC236}">
                <a16:creationId xmlns:a16="http://schemas.microsoft.com/office/drawing/2014/main" id="{D14AB621-32A2-4385-B157-DA2913E7E5B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74764" y="2312969"/>
            <a:ext cx="1960783" cy="2486379"/>
          </a:xfrm>
          <a:prstGeom prst="chevron">
            <a:avLst>
              <a:gd name="adj" fmla="val 0"/>
            </a:avLst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0" anchor="t" anchorCtr="0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600" b="1" kern="0" dirty="0">
              <a:solidFill>
                <a:srgbClr val="FFFFFF"/>
              </a:solidFill>
              <a:latin typeface="Trebuchet MS" panose="020B0603020202020204" pitchFamily="34" charset="0"/>
              <a:cs typeface="Arial" charset="0"/>
            </a:endParaRPr>
          </a:p>
        </p:txBody>
      </p:sp>
      <p:sp>
        <p:nvSpPr>
          <p:cNvPr id="22" name="Inhaltsplatzhalter 11">
            <a:extLst>
              <a:ext uri="{FF2B5EF4-FFF2-40B4-BE49-F238E27FC236}">
                <a16:creationId xmlns:a16="http://schemas.microsoft.com/office/drawing/2014/main" id="{3096D25F-76FC-D7BD-81E0-EC1D2010C1B5}"/>
              </a:ext>
            </a:extLst>
          </p:cNvPr>
          <p:cNvSpPr txBox="1">
            <a:spLocks/>
          </p:cNvSpPr>
          <p:nvPr/>
        </p:nvSpPr>
        <p:spPr>
          <a:xfrm>
            <a:off x="6754375" y="2775022"/>
            <a:ext cx="1801560" cy="16521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 indent="-88900">
              <a:spcBef>
                <a:spcPts val="0"/>
              </a:spcBef>
            </a:pPr>
            <a:r>
              <a:rPr lang="de-DE" sz="600" dirty="0">
                <a:latin typeface="Arial Narrow" panose="020B0606020202030204" pitchFamily="34" charset="0"/>
              </a:rPr>
              <a:t>Die Wasserverlustrate nach DVGW-Arbeitsblatt </a:t>
            </a:r>
            <a:br>
              <a:rPr lang="de-DE" sz="600" dirty="0">
                <a:latin typeface="Arial Narrow" panose="020B0606020202030204" pitchFamily="34" charset="0"/>
              </a:rPr>
            </a:br>
            <a:r>
              <a:rPr lang="de-DE" sz="600" dirty="0">
                <a:latin typeface="Arial Narrow" panose="020B0606020202030204" pitchFamily="34" charset="0"/>
              </a:rPr>
              <a:t>W 392 beträgt somit rd. </a:t>
            </a:r>
            <a:r>
              <a:rPr lang="de-DE" sz="600" b="1" dirty="0">
                <a:latin typeface="Arial Narrow" panose="020B0606020202030204" pitchFamily="34" charset="0"/>
              </a:rPr>
              <a:t>0,07 m³/(km x h). </a:t>
            </a:r>
            <a:endParaRPr lang="de-DE" sz="600" dirty="0">
              <a:latin typeface="Arial Narrow" panose="020B0606020202030204" pitchFamily="34" charset="0"/>
            </a:endParaRPr>
          </a:p>
          <a:p>
            <a:pPr marL="88900" indent="-88900">
              <a:spcBef>
                <a:spcPts val="0"/>
              </a:spcBef>
            </a:pPr>
            <a:r>
              <a:rPr lang="de-DE" sz="600" dirty="0">
                <a:latin typeface="Arial Narrow" panose="020B0606020202030204" pitchFamily="34" charset="0"/>
              </a:rPr>
              <a:t>Dies ist nach den Regeln des DVGW bei unserer Versorgungsstruktur als </a:t>
            </a:r>
            <a:r>
              <a:rPr lang="de-DE" sz="600" b="1" dirty="0">
                <a:latin typeface="Arial Narrow" panose="020B0606020202030204" pitchFamily="34" charset="0"/>
              </a:rPr>
              <a:t>niedrige Verlustrate</a:t>
            </a:r>
            <a:r>
              <a:rPr lang="de-DE" sz="600" dirty="0">
                <a:latin typeface="Arial Narrow" panose="020B0606020202030204" pitchFamily="34" charset="0"/>
              </a:rPr>
              <a:t> zu bewerten.</a:t>
            </a:r>
          </a:p>
          <a:p>
            <a:pPr marL="88900" indent="-88900">
              <a:spcBef>
                <a:spcPts val="0"/>
              </a:spcBef>
            </a:pPr>
            <a:r>
              <a:rPr lang="de-DE" sz="600" dirty="0">
                <a:latin typeface="Arial Narrow" panose="020B0606020202030204" pitchFamily="34" charset="0"/>
              </a:rPr>
              <a:t>Die niedrige Verlustrate ist das Ergebnis hoher Investitionen in das Verteilungsnetz und die Hausanschlüsse. Seit 1991 wurden über 120 km Haupt- und Versorgungsleitungen </a:t>
            </a:r>
            <a:br>
              <a:rPr lang="de-DE" sz="600" dirty="0">
                <a:latin typeface="Arial Narrow" panose="020B0606020202030204" pitchFamily="34" charset="0"/>
              </a:rPr>
            </a:br>
            <a:r>
              <a:rPr lang="de-DE" sz="600" dirty="0">
                <a:latin typeface="Arial Narrow" panose="020B0606020202030204" pitchFamily="34" charset="0"/>
              </a:rPr>
              <a:t>sowie über 145 km Anschlussleitungen für insgesamt</a:t>
            </a:r>
            <a:br>
              <a:rPr lang="de-DE" sz="600" dirty="0">
                <a:latin typeface="Arial Narrow" panose="020B0606020202030204" pitchFamily="34" charset="0"/>
              </a:rPr>
            </a:br>
            <a:r>
              <a:rPr lang="de-DE" sz="600" dirty="0">
                <a:latin typeface="Arial Narrow" panose="020B0606020202030204" pitchFamily="34" charset="0"/>
              </a:rPr>
              <a:t>ca. 45,5 Mio. Euro erneuert.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FEF2F386-8844-AD17-BCFF-3AD1E518258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25394" y="3714052"/>
            <a:ext cx="989672" cy="88562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A5131758-3819-222A-6769-E68B1F5FF5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80766" y="4254567"/>
            <a:ext cx="468000" cy="468000"/>
          </a:xfrm>
          <a:prstGeom prst="rect">
            <a:avLst/>
          </a:prstGeom>
        </p:spPr>
      </p:pic>
      <p:sp>
        <p:nvSpPr>
          <p:cNvPr id="34" name="AutoShape 11">
            <a:extLst>
              <a:ext uri="{FF2B5EF4-FFF2-40B4-BE49-F238E27FC236}">
                <a16:creationId xmlns:a16="http://schemas.microsoft.com/office/drawing/2014/main" id="{C523C13F-1DC2-00C1-E8DD-FBCE79D2FD5C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54375" y="2387202"/>
            <a:ext cx="1801560" cy="252000"/>
          </a:xfrm>
          <a:prstGeom prst="chevron">
            <a:avLst>
              <a:gd name="adj" fmla="val 0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36000" rIns="0" bIns="0" anchor="t" anchorCtr="0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latin typeface="Arial Narrow" panose="020B0606020202030204" pitchFamily="34" charset="0"/>
              </a:rPr>
              <a:t>Durch kontinuierliche Instandhaltung und Netzerneuerung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latin typeface="Arial Narrow" panose="020B0606020202030204" pitchFamily="34" charset="0"/>
              </a:rPr>
              <a:t>gelingt es uns, die Wasserverluste auf ein Minimum zu 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latin typeface="Arial Narrow" panose="020B0606020202030204" pitchFamily="34" charset="0"/>
              </a:rPr>
              <a:t>reduzieren</a:t>
            </a:r>
            <a:endParaRPr lang="de-DE" sz="600" b="1" kern="0" dirty="0">
              <a:latin typeface="Arial Narrow" panose="020B0606020202030204" pitchFamily="34" charset="0"/>
              <a:cs typeface="Arial" charset="0"/>
            </a:endParaRPr>
          </a:p>
        </p:txBody>
      </p:sp>
      <p:pic>
        <p:nvPicPr>
          <p:cNvPr id="36" name="Grafik 35" descr="Büroklammer Silhouette">
            <a:extLst>
              <a:ext uri="{FF2B5EF4-FFF2-40B4-BE49-F238E27FC236}">
                <a16:creationId xmlns:a16="http://schemas.microsoft.com/office/drawing/2014/main" id="{B218B350-6C26-686C-5307-170BC9E1BF6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14199" y="1692410"/>
            <a:ext cx="325401" cy="325401"/>
          </a:xfrm>
          <a:prstGeom prst="rect">
            <a:avLst/>
          </a:prstGeom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2D08950-71FD-537F-A2CF-60447740FF7C}"/>
              </a:ext>
            </a:extLst>
          </p:cNvPr>
          <p:cNvGrpSpPr/>
          <p:nvPr/>
        </p:nvGrpSpPr>
        <p:grpSpPr>
          <a:xfrm>
            <a:off x="6565860" y="1893091"/>
            <a:ext cx="2411188" cy="332798"/>
            <a:chOff x="5575260" y="1893091"/>
            <a:chExt cx="2411188" cy="332798"/>
          </a:xfrm>
        </p:grpSpPr>
        <p:sp>
          <p:nvSpPr>
            <p:cNvPr id="13" name="Inhaltsplatzhalter 11">
              <a:extLst>
                <a:ext uri="{FF2B5EF4-FFF2-40B4-BE49-F238E27FC236}">
                  <a16:creationId xmlns:a16="http://schemas.microsoft.com/office/drawing/2014/main" id="{A4096286-5293-93E0-F497-E0339CE269BC}"/>
                </a:ext>
              </a:extLst>
            </p:cNvPr>
            <p:cNvSpPr txBox="1">
              <a:spLocks/>
            </p:cNvSpPr>
            <p:nvPr/>
          </p:nvSpPr>
          <p:spPr>
            <a:xfrm>
              <a:off x="5903863" y="1937784"/>
              <a:ext cx="2082585" cy="28810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360000" indent="-360000" algn="l" defTabSz="691157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500"/>
                </a:spcAft>
                <a:buClr>
                  <a:schemeClr val="bg2"/>
                </a:buClr>
                <a:buFont typeface="Calibri" panose="020F050202020403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20000" indent="-360000" algn="l" defTabSz="691157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250"/>
                </a:spcAft>
                <a:buClr>
                  <a:schemeClr val="bg2"/>
                </a:buClr>
                <a:buFont typeface="Calibri" panose="020F0502020204030204" pitchFamily="34" charset="0"/>
                <a:buChar char="◦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80000" indent="-360000" algn="l" defTabSz="691157" rtl="0" eaLnBrk="1" latinLnBrk="0" hangingPunct="1">
                <a:lnSpc>
                  <a:spcPct val="90000"/>
                </a:lnSpc>
                <a:spcBef>
                  <a:spcPts val="250"/>
                </a:spcBef>
                <a:spcAft>
                  <a:spcPts val="150"/>
                </a:spcAft>
                <a:buClr>
                  <a:schemeClr val="tx1"/>
                </a:buClr>
                <a:buFont typeface="Calibri" panose="020F0502020204030204" pitchFamily="34" charset="0"/>
                <a:buChar char="◦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0000" indent="-360000" algn="l" defTabSz="691157" rtl="0" eaLnBrk="1" latinLnBrk="0" hangingPunct="1">
                <a:lnSpc>
                  <a:spcPct val="90000"/>
                </a:lnSpc>
                <a:spcBef>
                  <a:spcPts val="150"/>
                </a:spcBef>
                <a:spcAft>
                  <a:spcPts val="0"/>
                </a:spcAft>
                <a:buClr>
                  <a:schemeClr val="tx1"/>
                </a:buClr>
                <a:buFont typeface="Calibri" panose="020F0502020204030204" pitchFamily="34" charset="0"/>
                <a:buChar char="­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0" indent="-360000" algn="l" defTabSz="691157" rtl="0" eaLnBrk="1" latinLnBrk="0" hangingPunct="1">
                <a:lnSpc>
                  <a:spcPct val="90000"/>
                </a:lnSpc>
                <a:spcBef>
                  <a:spcPts val="100"/>
                </a:spcBef>
                <a:buClrTx/>
                <a:buFont typeface="Calibri" panose="020F0502020204030204" pitchFamily="34" charset="0"/>
                <a:buChar char="­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00683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46262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91840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37419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Calibri" panose="020F0502020204030204" pitchFamily="34" charset="0"/>
                <a:buNone/>
              </a:pPr>
              <a:r>
                <a:rPr lang="de-DE" sz="700" b="1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wvs</a:t>
              </a:r>
              <a:r>
                <a:rPr lang="de-DE" sz="700" dirty="0">
                  <a:solidFill>
                    <a:schemeClr val="accent3"/>
                  </a:solidFill>
                  <a:latin typeface="Arial Narrow" panose="020B0606020202030204" pitchFamily="34" charset="0"/>
                </a:rPr>
                <a:t> 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Calibri" panose="020F0502020204030204" pitchFamily="34" charset="0"/>
                <a:buNone/>
              </a:pPr>
              <a:r>
                <a:rPr lang="de-DE" sz="700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wasserversorgung</a:t>
              </a:r>
              <a:r>
                <a:rPr lang="de-DE" sz="700" dirty="0">
                  <a:solidFill>
                    <a:schemeClr val="accent3"/>
                  </a:solidFill>
                  <a:latin typeface="Arial Narrow" panose="020B0606020202030204" pitchFamily="34" charset="0"/>
                </a:rPr>
                <a:t> </a:t>
              </a:r>
              <a:r>
                <a:rPr lang="de-DE" sz="700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musterstadt</a:t>
              </a:r>
              <a:endParaRPr lang="de-DE" sz="700" dirty="0">
                <a:solidFill>
                  <a:schemeClr val="accent3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2B044EAC-CDFF-9D12-A08F-E99FCB6DAA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575260" y="1893091"/>
              <a:ext cx="329631" cy="3296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81238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2A76F1-48F2-4E7E-B91A-F603600486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2A76F1-48F2-4E7E-B91A-F60360048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557BE8D-BF10-4E77-A598-C18604FA4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</p:spPr>
        <p:txBody>
          <a:bodyPr vert="horz"/>
          <a:lstStyle/>
          <a:p>
            <a:r>
              <a:rPr lang="de-DE" dirty="0"/>
              <a:t>Bundesdurchschnitt als verlässliche Grundlage </a:t>
            </a:r>
            <a:br>
              <a:rPr lang="de-DE" dirty="0"/>
            </a:br>
            <a:r>
              <a:rPr lang="de-DE" dirty="0"/>
              <a:t>für Wassergebrauch pro Perso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28E859-2E8A-4E73-924D-B233B84DC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5B46E5-CABD-4F34-866D-FC50EA35E7C5}" type="datetime1">
              <a:rPr lang="de-DE" smtClean="0"/>
              <a:t>24.11.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A9F075A-7343-43DD-A372-C83DE184EE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wasserportal.info: Infoservice für Wasserversorger und ihre Kund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44CE059-5239-46F8-A74C-7E81A9C04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17ACD14-E5AC-46B3-8D21-A0579F857559}"/>
              </a:ext>
            </a:extLst>
          </p:cNvPr>
          <p:cNvSpPr/>
          <p:nvPr/>
        </p:nvSpPr>
        <p:spPr>
          <a:xfrm>
            <a:off x="3894041" y="1810633"/>
            <a:ext cx="43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defTabSz="691157">
              <a:buClr>
                <a:schemeClr val="bg2"/>
              </a:buClr>
            </a:pPr>
            <a:r>
              <a:rPr lang="de-DE" sz="1400" b="1" dirty="0">
                <a:solidFill>
                  <a:schemeClr val="tx1"/>
                </a:solidFill>
              </a:rPr>
              <a:t>Wassergebrauch</a:t>
            </a:r>
            <a:endParaRPr lang="de-DE" sz="1400" dirty="0">
              <a:solidFill>
                <a:schemeClr val="tx1"/>
              </a:solidFill>
            </a:endParaRPr>
          </a:p>
          <a:p>
            <a:pPr defTabSz="691157">
              <a:buClr>
                <a:schemeClr val="bg2"/>
              </a:buClr>
            </a:pPr>
            <a:r>
              <a:rPr lang="de-DE" sz="1400" dirty="0">
                <a:solidFill>
                  <a:schemeClr val="tx1"/>
                </a:solidFill>
              </a:rPr>
              <a:t>Angabe BDEW zum </a:t>
            </a:r>
            <a:r>
              <a:rPr lang="de-DE" sz="1400" b="1" dirty="0">
                <a:solidFill>
                  <a:schemeClr val="tx1"/>
                </a:solidFill>
              </a:rPr>
              <a:t>Bundesdurchschnit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CCA9117-0A99-46F9-8F09-5E4FD35341EB}"/>
              </a:ext>
            </a:extLst>
          </p:cNvPr>
          <p:cNvSpPr/>
          <p:nvPr/>
        </p:nvSpPr>
        <p:spPr>
          <a:xfrm>
            <a:off x="3890910" y="2810269"/>
            <a:ext cx="43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>
              <a:spcAft>
                <a:spcPts val="1000"/>
              </a:spcAft>
            </a:pPr>
            <a:r>
              <a:rPr lang="de-DE" sz="1400" dirty="0">
                <a:solidFill>
                  <a:schemeClr val="tx1"/>
                </a:solidFill>
              </a:rPr>
              <a:t>Berechnung des</a:t>
            </a:r>
            <a:r>
              <a:rPr lang="de-DE" sz="1400" b="1" dirty="0">
                <a:solidFill>
                  <a:schemeClr val="tx1"/>
                </a:solidFill>
              </a:rPr>
              <a:t> Haushaltsgebrauch </a:t>
            </a:r>
            <a:r>
              <a:rPr lang="de-DE" sz="1400" dirty="0">
                <a:solidFill>
                  <a:schemeClr val="tx1"/>
                </a:solidFill>
              </a:rPr>
              <a:t>durch Angabe 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einer Bandbreite für 1–2 und 3–5 Personenhaushalte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AD43C3FB-47C9-4C6E-BA99-6F02C3D5EE6B}"/>
              </a:ext>
            </a:extLst>
          </p:cNvPr>
          <p:cNvSpPr/>
          <p:nvPr/>
        </p:nvSpPr>
        <p:spPr>
          <a:xfrm>
            <a:off x="3890909" y="3809904"/>
            <a:ext cx="432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 anchorCtr="0"/>
          <a:lstStyle/>
          <a:p>
            <a:pPr defTabSz="691157">
              <a:spcAft>
                <a:spcPts val="1000"/>
              </a:spcAft>
              <a:buClr>
                <a:schemeClr val="bg2"/>
              </a:buClr>
            </a:pPr>
            <a:r>
              <a:rPr lang="de-DE" sz="1400" dirty="0">
                <a:solidFill>
                  <a:schemeClr val="tx1"/>
                </a:solidFill>
              </a:rPr>
              <a:t>Berechnung der </a:t>
            </a:r>
            <a:r>
              <a:rPr lang="de-DE" sz="1400" b="1" dirty="0">
                <a:solidFill>
                  <a:schemeClr val="tx1"/>
                </a:solidFill>
              </a:rPr>
              <a:t>Wasserkosten</a:t>
            </a:r>
            <a:r>
              <a:rPr lang="de-DE" sz="1400" dirty="0">
                <a:solidFill>
                  <a:schemeClr val="tx1"/>
                </a:solidFill>
              </a:rPr>
              <a:t> aus Bundesdurchschnitts-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verbrauch und gebietsspezifischen Preisen/Gebühren</a:t>
            </a:r>
            <a:r>
              <a:rPr lang="de-DE" sz="1400" baseline="30000" dirty="0">
                <a:solidFill>
                  <a:schemeClr val="tx1"/>
                </a:solidFill>
              </a:rPr>
              <a:t>1)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BA50C25-EF87-42AE-BABA-020ADE0531C4}"/>
              </a:ext>
            </a:extLst>
          </p:cNvPr>
          <p:cNvSpPr txBox="1"/>
          <p:nvPr/>
        </p:nvSpPr>
        <p:spPr>
          <a:xfrm>
            <a:off x="3890909" y="4626911"/>
            <a:ext cx="4392488" cy="1441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</a:pPr>
            <a:r>
              <a:rPr lang="de-DE" sz="800" dirty="0"/>
              <a:t>1) Hinzu kommen gebrauchsunabhängige Kosten der Trinkwasserversorgung.</a:t>
            </a:r>
          </a:p>
        </p:txBody>
      </p:sp>
      <p:sp>
        <p:nvSpPr>
          <p:cNvPr id="11" name="Textplatzhalter 24">
            <a:extLst>
              <a:ext uri="{FF2B5EF4-FFF2-40B4-BE49-F238E27FC236}">
                <a16:creationId xmlns:a16="http://schemas.microsoft.com/office/drawing/2014/main" id="{5D696E4F-8791-F049-ECF0-D178A4827F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1001" y="1800000"/>
            <a:ext cx="1980000" cy="720000"/>
          </a:xfrm>
          <a:solidFill>
            <a:srgbClr val="0068AF"/>
          </a:solidFill>
        </p:spPr>
        <p:txBody>
          <a:bodyPr lIns="90000" tIns="90000" bIns="90000"/>
          <a:lstStyle/>
          <a:p>
            <a:pPr marL="0" indent="0">
              <a:buNone/>
            </a:pPr>
            <a:r>
              <a:rPr lang="de-DE" b="1" dirty="0">
                <a:solidFill>
                  <a:schemeClr val="bg1"/>
                </a:solidFill>
              </a:rPr>
              <a:t>Wassergebrauch</a:t>
            </a:r>
            <a:br>
              <a:rPr lang="de-DE" b="1" dirty="0">
                <a:solidFill>
                  <a:schemeClr val="bg1"/>
                </a:solidFill>
              </a:rPr>
            </a:br>
            <a:r>
              <a:rPr lang="de-DE" b="1" dirty="0">
                <a:solidFill>
                  <a:schemeClr val="bg1"/>
                </a:solidFill>
              </a:rPr>
              <a:t>pro Person</a:t>
            </a:r>
          </a:p>
        </p:txBody>
      </p:sp>
      <p:sp>
        <p:nvSpPr>
          <p:cNvPr id="13" name="Textplatzhalter 24">
            <a:extLst>
              <a:ext uri="{FF2B5EF4-FFF2-40B4-BE49-F238E27FC236}">
                <a16:creationId xmlns:a16="http://schemas.microsoft.com/office/drawing/2014/main" id="{134957F6-4871-7220-E5C0-4BCE40D9CAC3}"/>
              </a:ext>
            </a:extLst>
          </p:cNvPr>
          <p:cNvSpPr txBox="1">
            <a:spLocks/>
          </p:cNvSpPr>
          <p:nvPr/>
        </p:nvSpPr>
        <p:spPr>
          <a:xfrm>
            <a:off x="1791001" y="2804952"/>
            <a:ext cx="1980000" cy="720000"/>
          </a:xfrm>
          <a:prstGeom prst="rect">
            <a:avLst/>
          </a:prstGeom>
          <a:solidFill>
            <a:srgbClr val="0068AF"/>
          </a:solidFill>
        </p:spPr>
        <p:txBody>
          <a:bodyPr vert="horz" lIns="90000" tIns="90000" rIns="0" bIns="90000" rtlCol="0">
            <a:no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Calibri" panose="020F0502020204030204" pitchFamily="34" charset="0"/>
              <a:buNone/>
            </a:pPr>
            <a:r>
              <a:rPr lang="de-DE" b="1" dirty="0">
                <a:solidFill>
                  <a:schemeClr val="bg1"/>
                </a:solidFill>
              </a:rPr>
              <a:t>Wassergebrauch</a:t>
            </a:r>
            <a:br>
              <a:rPr lang="de-DE" b="1" dirty="0">
                <a:solidFill>
                  <a:schemeClr val="bg1"/>
                </a:solidFill>
              </a:rPr>
            </a:br>
            <a:r>
              <a:rPr lang="de-DE" b="1" dirty="0">
                <a:solidFill>
                  <a:schemeClr val="bg1"/>
                </a:solidFill>
              </a:rPr>
              <a:t>pro Haushalt</a:t>
            </a:r>
          </a:p>
        </p:txBody>
      </p:sp>
      <p:sp>
        <p:nvSpPr>
          <p:cNvPr id="15" name="Textplatzhalter 24">
            <a:extLst>
              <a:ext uri="{FF2B5EF4-FFF2-40B4-BE49-F238E27FC236}">
                <a16:creationId xmlns:a16="http://schemas.microsoft.com/office/drawing/2014/main" id="{C70F5A82-1C7E-7E4A-7301-F24EC5586C2F}"/>
              </a:ext>
            </a:extLst>
          </p:cNvPr>
          <p:cNvSpPr txBox="1">
            <a:spLocks/>
          </p:cNvSpPr>
          <p:nvPr/>
        </p:nvSpPr>
        <p:spPr>
          <a:xfrm>
            <a:off x="1791001" y="3809904"/>
            <a:ext cx="1980000" cy="720000"/>
          </a:xfrm>
          <a:prstGeom prst="rect">
            <a:avLst/>
          </a:prstGeom>
          <a:solidFill>
            <a:srgbClr val="0068AF"/>
          </a:solidFill>
        </p:spPr>
        <p:txBody>
          <a:bodyPr vert="horz" lIns="90000" tIns="90000" rIns="0" bIns="90000" rtlCol="0">
            <a:no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Calibri" panose="020F0502020204030204" pitchFamily="34" charset="0"/>
              <a:buNone/>
            </a:pPr>
            <a:r>
              <a:rPr lang="de-DE" b="1" dirty="0">
                <a:solidFill>
                  <a:schemeClr val="bg1"/>
                </a:solidFill>
              </a:rPr>
              <a:t>Wasserkosten </a:t>
            </a:r>
            <a:br>
              <a:rPr lang="de-DE" b="1" dirty="0">
                <a:solidFill>
                  <a:schemeClr val="bg1"/>
                </a:solidFill>
              </a:rPr>
            </a:br>
            <a:r>
              <a:rPr lang="de-DE" b="1" dirty="0">
                <a:solidFill>
                  <a:schemeClr val="bg1"/>
                </a:solidFill>
              </a:rPr>
              <a:t>pro Haushal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7953B87D-D10A-B8EC-45E4-3187710C1DA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22772" y="1804817"/>
            <a:ext cx="720000" cy="720000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4CE3F5E-C830-E62C-3801-5C5938AAAF2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22772" y="2792110"/>
            <a:ext cx="720000" cy="72000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013E565A-B552-94EC-8ACC-5F58A7ACFBB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22772" y="3814721"/>
            <a:ext cx="720000" cy="720000"/>
          </a:xfrm>
          <a:prstGeom prst="rect">
            <a:avLst/>
          </a:prstGeom>
        </p:spPr>
      </p:pic>
      <p:pic>
        <p:nvPicPr>
          <p:cNvPr id="27" name="Grafik 26" descr="Pfeil nach unten Silhouette">
            <a:extLst>
              <a:ext uri="{FF2B5EF4-FFF2-40B4-BE49-F238E27FC236}">
                <a16:creationId xmlns:a16="http://schemas.microsoft.com/office/drawing/2014/main" id="{A7EE65C4-E7E8-29E7-3AE7-EFFEB0654FC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73644" y="3306753"/>
            <a:ext cx="914400" cy="914400"/>
          </a:xfrm>
          <a:prstGeom prst="rect">
            <a:avLst/>
          </a:prstGeom>
        </p:spPr>
      </p:pic>
      <p:pic>
        <p:nvPicPr>
          <p:cNvPr id="28" name="Grafik 27" descr="Pfeil nach unten Silhouette">
            <a:extLst>
              <a:ext uri="{FF2B5EF4-FFF2-40B4-BE49-F238E27FC236}">
                <a16:creationId xmlns:a16="http://schemas.microsoft.com/office/drawing/2014/main" id="{A8D21AB4-237E-6D54-A1F2-997CB68635F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73644" y="2110762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17282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>
            <a:extLst>
              <a:ext uri="{FF2B5EF4-FFF2-40B4-BE49-F238E27FC236}">
                <a16:creationId xmlns:a16="http://schemas.microsoft.com/office/drawing/2014/main" id="{7B9A1764-7DB1-734C-A1BC-1542620DAB99}"/>
              </a:ext>
            </a:extLst>
          </p:cNvPr>
          <p:cNvSpPr/>
          <p:nvPr/>
        </p:nvSpPr>
        <p:spPr>
          <a:xfrm>
            <a:off x="6528962" y="1800225"/>
            <a:ext cx="2252386" cy="3185518"/>
          </a:xfrm>
          <a:prstGeom prst="rect">
            <a:avLst/>
          </a:prstGeom>
          <a:solidFill>
            <a:srgbClr val="BFD9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000"/>
              </a:spcAft>
            </a:pPr>
            <a:endParaRPr lang="de-DE" sz="1800" dirty="0" err="1">
              <a:solidFill>
                <a:schemeClr val="bg1"/>
              </a:solidFill>
            </a:endParaRPr>
          </a:p>
        </p:txBody>
      </p:sp>
      <p:sp>
        <p:nvSpPr>
          <p:cNvPr id="21" name="AutoShape 11">
            <a:extLst>
              <a:ext uri="{FF2B5EF4-FFF2-40B4-BE49-F238E27FC236}">
                <a16:creationId xmlns:a16="http://schemas.microsoft.com/office/drawing/2014/main" id="{74E9272D-5EDA-702E-A1C5-F2FE499EC59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74764" y="2312969"/>
            <a:ext cx="1960783" cy="2486379"/>
          </a:xfrm>
          <a:prstGeom prst="chevron">
            <a:avLst>
              <a:gd name="adj" fmla="val 0"/>
            </a:avLst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0" anchor="t" anchorCtr="0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600" b="1" kern="0" dirty="0">
              <a:solidFill>
                <a:srgbClr val="FFFFFF"/>
              </a:solidFill>
              <a:latin typeface="Trebuchet MS" panose="020B0603020202020204" pitchFamily="34" charset="0"/>
              <a:cs typeface="Arial" charset="0"/>
            </a:endParaRP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2A76F1-48F2-4E7E-B91A-F603600486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2A76F1-48F2-4E7E-B91A-F60360048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557BE8D-BF10-4E77-A598-C18604FA4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8352382" cy="647628"/>
          </a:xfrm>
        </p:spPr>
        <p:txBody>
          <a:bodyPr/>
          <a:lstStyle/>
          <a:p>
            <a:r>
              <a:rPr lang="de-DE" dirty="0"/>
              <a:t>Preise und Gebühren für Trinkwasser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05D633D6-8921-D9F5-A64D-39047F7A95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257" y="1800225"/>
            <a:ext cx="5472606" cy="3168426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Zur Angabe der </a:t>
            </a:r>
            <a:r>
              <a:rPr lang="de-DE" b="1" dirty="0"/>
              <a:t>Bestandteile von Preisen </a:t>
            </a:r>
            <a:br>
              <a:rPr lang="de-DE" b="1" dirty="0"/>
            </a:br>
            <a:r>
              <a:rPr lang="de-DE" b="1" dirty="0"/>
              <a:t>bzw. Gebühren </a:t>
            </a:r>
            <a:r>
              <a:rPr lang="de-DE" dirty="0"/>
              <a:t>soll auf bestehende Preisblätter verwiesen werden.</a:t>
            </a:r>
          </a:p>
          <a:p>
            <a:pPr marL="0" indent="0">
              <a:buNone/>
            </a:pPr>
            <a:r>
              <a:rPr lang="de-DE" dirty="0"/>
              <a:t>Veröffentlichung folgender Preisbestandteile: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Grundprei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Bereitstellungsprei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Arbeitspreis (Mengenpreis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Systempreis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28E859-2E8A-4E73-924D-B233B84DC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3A5D9-B9D3-4DAE-A0F1-83D12C38FDDB}" type="datetime1">
              <a:rPr lang="de-DE" smtClean="0"/>
              <a:t>24.11.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A9F075A-7343-43DD-A372-C83DE184EE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wasserportal.info: Infoservice für Wasserversorger und ihre Kund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44CE059-5239-46F8-A74C-7E81A9C04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3" name="Inhaltsplatzhalter 11">
            <a:extLst>
              <a:ext uri="{FF2B5EF4-FFF2-40B4-BE49-F238E27FC236}">
                <a16:creationId xmlns:a16="http://schemas.microsoft.com/office/drawing/2014/main" id="{6C3C829D-B566-1F63-415A-CFE1185BB4FA}"/>
              </a:ext>
            </a:extLst>
          </p:cNvPr>
          <p:cNvSpPr txBox="1">
            <a:spLocks/>
          </p:cNvSpPr>
          <p:nvPr/>
        </p:nvSpPr>
        <p:spPr>
          <a:xfrm>
            <a:off x="6754375" y="2812016"/>
            <a:ext cx="1881172" cy="18686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None/>
            </a:pPr>
            <a:r>
              <a:rPr lang="de-DE" sz="600" dirty="0">
                <a:latin typeface="Arial Narrow" panose="020B0606020202030204" pitchFamily="34" charset="0"/>
              </a:rPr>
              <a:t>Der Preis unseres Wasser setzt sich aus folgenden </a:t>
            </a:r>
            <a:br>
              <a:rPr lang="de-DE" sz="600" dirty="0">
                <a:latin typeface="Arial Narrow" panose="020B0606020202030204" pitchFamily="34" charset="0"/>
              </a:rPr>
            </a:br>
            <a:r>
              <a:rPr lang="de-DE" sz="600" dirty="0">
                <a:latin typeface="Arial Narrow" panose="020B0606020202030204" pitchFamily="34" charset="0"/>
              </a:rPr>
              <a:t>Bestandteilen zusammen:</a:t>
            </a:r>
          </a:p>
          <a:p>
            <a:pPr marL="88900" indent="-889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600" dirty="0">
                <a:latin typeface="Arial Narrow" panose="020B0606020202030204" pitchFamily="34" charset="0"/>
              </a:rPr>
              <a:t>Zählergrößenabhängiger Grundpreis</a:t>
            </a:r>
          </a:p>
          <a:p>
            <a:pPr marL="88900" indent="-889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600" dirty="0">
                <a:latin typeface="Arial Narrow" panose="020B0606020202030204" pitchFamily="34" charset="0"/>
              </a:rPr>
              <a:t>Bezugsmengenabhängiger Grundpreiszuschlag</a:t>
            </a:r>
          </a:p>
          <a:p>
            <a:pPr marL="88900" indent="-889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600" dirty="0">
                <a:latin typeface="Arial Narrow" panose="020B0606020202030204" pitchFamily="34" charset="0"/>
              </a:rPr>
              <a:t>Servicepreis</a:t>
            </a:r>
          </a:p>
          <a:p>
            <a:pPr marL="88900" indent="-889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600" dirty="0">
                <a:latin typeface="Arial Narrow" panose="020B0606020202030204" pitchFamily="34" charset="0"/>
              </a:rPr>
              <a:t>Mengenpreis</a:t>
            </a:r>
          </a:p>
          <a:p>
            <a:pPr marL="146050" indent="-14605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600" dirty="0">
              <a:latin typeface="Arial Narrow" panose="020B060602020203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None/>
            </a:pPr>
            <a:r>
              <a:rPr lang="de-DE" sz="600" dirty="0">
                <a:latin typeface="Arial Narrow" panose="020B0606020202030204" pitchFamily="34" charset="0"/>
              </a:rPr>
              <a:t>Sie finden die aktuellen Preise auf unserer </a:t>
            </a:r>
            <a:br>
              <a:rPr lang="de-DE" sz="600" dirty="0">
                <a:latin typeface="Arial Narrow" panose="020B0606020202030204" pitchFamily="34" charset="0"/>
              </a:rPr>
            </a:br>
            <a:r>
              <a:rPr lang="de-DE" sz="600" dirty="0">
                <a:latin typeface="Arial Narrow" panose="020B0606020202030204" pitchFamily="34" charset="0"/>
              </a:rPr>
              <a:t>Website unter folgendem Link (inkl. mobile Wasserversorgung): </a:t>
            </a:r>
            <a:r>
              <a:rPr lang="de-DE" sz="600" dirty="0">
                <a:latin typeface="Arial Narrow" panose="020B0606020202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vs-musterstadt.de</a:t>
            </a:r>
            <a:endParaRPr lang="de-DE" sz="600" dirty="0">
              <a:latin typeface="Arial Narrow" panose="020B060602020203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None/>
            </a:pPr>
            <a:endParaRPr lang="de-DE" sz="600" dirty="0">
              <a:latin typeface="Arial Narrow" panose="020B060602020203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None/>
            </a:pPr>
            <a:r>
              <a:rPr lang="de-DE" sz="600" dirty="0">
                <a:latin typeface="Arial Narrow" panose="020B0606020202030204" pitchFamily="34" charset="0"/>
              </a:rPr>
              <a:t>Außerdem können Sie Ihre individuellen Bezugskosten </a:t>
            </a:r>
            <a:br>
              <a:rPr lang="de-DE" sz="600" dirty="0">
                <a:latin typeface="Arial Narrow" panose="020B0606020202030204" pitchFamily="34" charset="0"/>
              </a:rPr>
            </a:br>
            <a:r>
              <a:rPr lang="de-DE" sz="600" dirty="0">
                <a:latin typeface="Arial Narrow" panose="020B0606020202030204" pitchFamily="34" charset="0"/>
              </a:rPr>
              <a:t>mittels unseres Tarifrechners ermitteln:</a:t>
            </a:r>
            <a:br>
              <a:rPr lang="de-DE" sz="600" dirty="0">
                <a:latin typeface="Arial Narrow" panose="020B0606020202030204" pitchFamily="34" charset="0"/>
              </a:rPr>
            </a:br>
            <a:r>
              <a:rPr lang="de-DE" sz="600" dirty="0">
                <a:latin typeface="Arial Narrow" panose="020B0606020202030204" pitchFamily="34" charset="0"/>
              </a:rPr>
              <a:t>https://www.wvsmusterstadt.de/tarifrechner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Calibri" panose="020F0502020204030204" pitchFamily="34" charset="0"/>
              <a:buNone/>
            </a:pPr>
            <a:endParaRPr lang="de-DE" sz="1000" dirty="0">
              <a:latin typeface="Arial Narrow" panose="020B0606020202030204" pitchFamily="34" charset="0"/>
            </a:endParaRPr>
          </a:p>
        </p:txBody>
      </p:sp>
      <p:sp>
        <p:nvSpPr>
          <p:cNvPr id="9" name="AutoShape 11">
            <a:extLst>
              <a:ext uri="{FF2B5EF4-FFF2-40B4-BE49-F238E27FC236}">
                <a16:creationId xmlns:a16="http://schemas.microsoft.com/office/drawing/2014/main" id="{7A134B42-84E9-36D2-7B5F-A8399AD3B6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74763" y="2387202"/>
            <a:ext cx="1965404" cy="252000"/>
          </a:xfrm>
          <a:prstGeom prst="chevron">
            <a:avLst>
              <a:gd name="adj" fmla="val 0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0" anchor="t" anchorCtr="0"/>
          <a:lstStyle/>
          <a:p>
            <a:pPr marL="38100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kern="0" dirty="0">
                <a:latin typeface="Arial Narrow" panose="020B0606020202030204" pitchFamily="34" charset="0"/>
                <a:cs typeface="Arial" charset="0"/>
              </a:rPr>
              <a:t>Unsere aktuellen Preise für Wasser</a:t>
            </a:r>
            <a:br>
              <a:rPr lang="de-DE" sz="600" b="1" kern="0" dirty="0">
                <a:latin typeface="Arial Narrow" panose="020B0606020202030204" pitchFamily="34" charset="0"/>
                <a:cs typeface="Arial" charset="0"/>
              </a:rPr>
            </a:br>
            <a:r>
              <a:rPr lang="de-DE" sz="600" b="1" kern="0" dirty="0">
                <a:latin typeface="Arial Narrow" panose="020B0606020202030204" pitchFamily="34" charset="0"/>
                <a:cs typeface="Arial" charset="0"/>
              </a:rPr>
              <a:t>finden Sie online auf unserer Website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E0C8FAC0-D50F-1CAB-FB3C-761CAED0AF0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80766" y="4254567"/>
            <a:ext cx="468000" cy="468000"/>
          </a:xfrm>
          <a:prstGeom prst="rect">
            <a:avLst/>
          </a:prstGeom>
        </p:spPr>
      </p:pic>
      <p:pic>
        <p:nvPicPr>
          <p:cNvPr id="51" name="Grafik 50" descr="Büroklammer Silhouette">
            <a:extLst>
              <a:ext uri="{FF2B5EF4-FFF2-40B4-BE49-F238E27FC236}">
                <a16:creationId xmlns:a16="http://schemas.microsoft.com/office/drawing/2014/main" id="{C8E38096-9098-0BEF-1AE3-861520CEA46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14199" y="1692410"/>
            <a:ext cx="325401" cy="325401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331C32D3-0D80-A7A4-B3B1-49EB6D0F8434}"/>
              </a:ext>
            </a:extLst>
          </p:cNvPr>
          <p:cNvGrpSpPr/>
          <p:nvPr/>
        </p:nvGrpSpPr>
        <p:grpSpPr>
          <a:xfrm>
            <a:off x="6565860" y="1893091"/>
            <a:ext cx="2411188" cy="332798"/>
            <a:chOff x="5575260" y="1893091"/>
            <a:chExt cx="2411188" cy="332798"/>
          </a:xfrm>
        </p:grpSpPr>
        <p:sp>
          <p:nvSpPr>
            <p:cNvPr id="29" name="Inhaltsplatzhalter 11">
              <a:extLst>
                <a:ext uri="{FF2B5EF4-FFF2-40B4-BE49-F238E27FC236}">
                  <a16:creationId xmlns:a16="http://schemas.microsoft.com/office/drawing/2014/main" id="{7BBBE50B-9E8D-6651-0D1B-BD0432E0AEDB}"/>
                </a:ext>
              </a:extLst>
            </p:cNvPr>
            <p:cNvSpPr txBox="1">
              <a:spLocks/>
            </p:cNvSpPr>
            <p:nvPr/>
          </p:nvSpPr>
          <p:spPr>
            <a:xfrm>
              <a:off x="5903863" y="1937784"/>
              <a:ext cx="2082585" cy="28810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360000" indent="-360000" algn="l" defTabSz="691157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500"/>
                </a:spcAft>
                <a:buClr>
                  <a:schemeClr val="bg2"/>
                </a:buClr>
                <a:buFont typeface="Calibri" panose="020F050202020403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20000" indent="-360000" algn="l" defTabSz="691157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250"/>
                </a:spcAft>
                <a:buClr>
                  <a:schemeClr val="bg2"/>
                </a:buClr>
                <a:buFont typeface="Calibri" panose="020F0502020204030204" pitchFamily="34" charset="0"/>
                <a:buChar char="◦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80000" indent="-360000" algn="l" defTabSz="691157" rtl="0" eaLnBrk="1" latinLnBrk="0" hangingPunct="1">
                <a:lnSpc>
                  <a:spcPct val="90000"/>
                </a:lnSpc>
                <a:spcBef>
                  <a:spcPts val="250"/>
                </a:spcBef>
                <a:spcAft>
                  <a:spcPts val="150"/>
                </a:spcAft>
                <a:buClr>
                  <a:schemeClr val="tx1"/>
                </a:buClr>
                <a:buFont typeface="Calibri" panose="020F0502020204030204" pitchFamily="34" charset="0"/>
                <a:buChar char="◦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0000" indent="-360000" algn="l" defTabSz="691157" rtl="0" eaLnBrk="1" latinLnBrk="0" hangingPunct="1">
                <a:lnSpc>
                  <a:spcPct val="90000"/>
                </a:lnSpc>
                <a:spcBef>
                  <a:spcPts val="150"/>
                </a:spcBef>
                <a:spcAft>
                  <a:spcPts val="0"/>
                </a:spcAft>
                <a:buClr>
                  <a:schemeClr val="tx1"/>
                </a:buClr>
                <a:buFont typeface="Calibri" panose="020F0502020204030204" pitchFamily="34" charset="0"/>
                <a:buChar char="­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0" indent="-360000" algn="l" defTabSz="691157" rtl="0" eaLnBrk="1" latinLnBrk="0" hangingPunct="1">
                <a:lnSpc>
                  <a:spcPct val="90000"/>
                </a:lnSpc>
                <a:spcBef>
                  <a:spcPts val="100"/>
                </a:spcBef>
                <a:buClrTx/>
                <a:buFont typeface="Calibri" panose="020F0502020204030204" pitchFamily="34" charset="0"/>
                <a:buChar char="­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00683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46262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91840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37419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Calibri" panose="020F0502020204030204" pitchFamily="34" charset="0"/>
                <a:buNone/>
              </a:pPr>
              <a:r>
                <a:rPr lang="de-DE" sz="700" b="1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wvs</a:t>
              </a:r>
              <a:r>
                <a:rPr lang="de-DE" sz="700" dirty="0">
                  <a:solidFill>
                    <a:schemeClr val="accent3"/>
                  </a:solidFill>
                  <a:latin typeface="Arial Narrow" panose="020B0606020202030204" pitchFamily="34" charset="0"/>
                </a:rPr>
                <a:t> 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Calibri" panose="020F0502020204030204" pitchFamily="34" charset="0"/>
                <a:buNone/>
              </a:pPr>
              <a:r>
                <a:rPr lang="de-DE" sz="700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wasserversorgung</a:t>
              </a:r>
              <a:r>
                <a:rPr lang="de-DE" sz="700" dirty="0">
                  <a:solidFill>
                    <a:schemeClr val="accent3"/>
                  </a:solidFill>
                  <a:latin typeface="Arial Narrow" panose="020B0606020202030204" pitchFamily="34" charset="0"/>
                </a:rPr>
                <a:t> </a:t>
              </a:r>
              <a:r>
                <a:rPr lang="de-DE" sz="700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musterstadt</a:t>
              </a:r>
              <a:endParaRPr lang="de-DE" sz="700" dirty="0">
                <a:solidFill>
                  <a:schemeClr val="accent3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9F928880-87E4-8035-082F-BA7A1CC60FB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575260" y="1893091"/>
              <a:ext cx="329631" cy="3296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05934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52A76F1-48F2-4E7E-B91A-F603600486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Folie" r:id="rId5" imgW="351" imgH="351" progId="TCLayout.ActiveDocument.1">
                  <p:embed/>
                </p:oleObj>
              </mc:Choice>
              <mc:Fallback>
                <p:oleObj name="think-cell Folie" r:id="rId5" imgW="351" imgH="35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52A76F1-48F2-4E7E-B91A-F603600486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557BE8D-BF10-4E77-A598-C18604FA44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57" y="864639"/>
            <a:ext cx="10729190" cy="647628"/>
          </a:xfrm>
        </p:spPr>
        <p:txBody>
          <a:bodyPr/>
          <a:lstStyle/>
          <a:p>
            <a:r>
              <a:rPr lang="de-DE" sz="2800" dirty="0"/>
              <a:t>Wasserhärte und Mineralienkonzentration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28E859-2E8A-4E73-924D-B233B84DC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888FD9-D3E8-4001-AD58-1E5EB7F1B88E}" type="datetime1">
              <a:rPr lang="de-DE" smtClean="0"/>
              <a:t>24.11.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A9F075A-7343-43DD-A372-C83DE184EE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wasserportal.info: Infoservice für Wasserversorger und ihre Kund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44CE059-5239-46F8-A74C-7E81A9C04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58CC-EE43-4847-B998-6C652D6E5198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B586662-5D93-7092-3B5D-C35B709E154F}"/>
              </a:ext>
            </a:extLst>
          </p:cNvPr>
          <p:cNvSpPr/>
          <p:nvPr/>
        </p:nvSpPr>
        <p:spPr>
          <a:xfrm>
            <a:off x="429038" y="2147433"/>
            <a:ext cx="2664160" cy="7737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t"/>
          <a:lstStyle/>
          <a:p>
            <a:pPr defTabSz="691157">
              <a:buClr>
                <a:schemeClr val="bg2"/>
              </a:buClr>
            </a:pPr>
            <a:r>
              <a:rPr lang="de-DE" sz="1400" spc="-50" dirty="0">
                <a:solidFill>
                  <a:schemeClr val="tx1"/>
                </a:solidFill>
              </a:rPr>
              <a:t>Informationen über Wasserqualität</a:t>
            </a:r>
            <a:br>
              <a:rPr lang="de-DE" sz="1400" spc="-50" dirty="0">
                <a:solidFill>
                  <a:schemeClr val="tx1"/>
                </a:solidFill>
              </a:rPr>
            </a:br>
            <a:r>
              <a:rPr lang="de-DE" sz="1400" spc="-50" dirty="0">
                <a:solidFill>
                  <a:schemeClr val="tx1"/>
                </a:solidFill>
              </a:rPr>
              <a:t>für den menschlichen Gebrauch, (inkl. Indikatorparameter)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51CFE19-4DAB-9778-982F-846DD0AAFED3}"/>
              </a:ext>
            </a:extLst>
          </p:cNvPr>
          <p:cNvSpPr/>
          <p:nvPr/>
        </p:nvSpPr>
        <p:spPr>
          <a:xfrm>
            <a:off x="3275155" y="2147433"/>
            <a:ext cx="2664160" cy="7737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t"/>
          <a:lstStyle/>
          <a:p>
            <a:pPr defTabSz="691157">
              <a:buClr>
                <a:schemeClr val="bg2"/>
              </a:buClr>
            </a:pPr>
            <a:r>
              <a:rPr lang="de-DE" sz="1400" dirty="0">
                <a:solidFill>
                  <a:schemeClr val="tx1"/>
                </a:solidFill>
              </a:rPr>
              <a:t>Angabe und Erläuterung der Härtebereiche je Teilversorgungs-gebie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7A21E24-939D-2FF0-92D5-D64C4F949082}"/>
              </a:ext>
            </a:extLst>
          </p:cNvPr>
          <p:cNvSpPr/>
          <p:nvPr/>
        </p:nvSpPr>
        <p:spPr>
          <a:xfrm>
            <a:off x="6119479" y="2147433"/>
            <a:ext cx="2664160" cy="77370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90000" rIns="90000" bIns="90000" rtlCol="0" anchor="t"/>
          <a:lstStyle/>
          <a:p>
            <a:pPr defTabSz="691157">
              <a:buClr>
                <a:schemeClr val="bg2"/>
              </a:buClr>
            </a:pPr>
            <a:r>
              <a:rPr lang="de-DE" sz="1400" dirty="0">
                <a:solidFill>
                  <a:schemeClr val="tx1"/>
                </a:solidFill>
              </a:rPr>
              <a:t>Angabe von in Wasser gelösten Mineralien Calcium, Magnesium und Kalium [in mg/l]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4D4D749-4627-C7A5-C941-6E56EF874BD3}"/>
              </a:ext>
            </a:extLst>
          </p:cNvPr>
          <p:cNvSpPr/>
          <p:nvPr/>
        </p:nvSpPr>
        <p:spPr>
          <a:xfrm>
            <a:off x="3282894" y="1800225"/>
            <a:ext cx="2664159" cy="2881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000"/>
              </a:spcAft>
            </a:pPr>
            <a:r>
              <a:rPr lang="de-DE" sz="1600" b="1" dirty="0">
                <a:solidFill>
                  <a:schemeClr val="bg1"/>
                </a:solidFill>
              </a:rPr>
              <a:t>Wasserhärte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A05FA5DF-4B12-806A-D247-3245472906BD}"/>
              </a:ext>
            </a:extLst>
          </p:cNvPr>
          <p:cNvSpPr/>
          <p:nvPr/>
        </p:nvSpPr>
        <p:spPr>
          <a:xfrm>
            <a:off x="6123568" y="1800225"/>
            <a:ext cx="2664159" cy="2881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000"/>
              </a:spcAft>
            </a:pPr>
            <a:r>
              <a:rPr lang="de-DE" sz="1600" b="1" dirty="0">
                <a:solidFill>
                  <a:schemeClr val="bg1"/>
                </a:solidFill>
              </a:rPr>
              <a:t>Mineralie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9CBB8456-0F87-E1F3-8D98-9AF05E7E18EC}"/>
              </a:ext>
            </a:extLst>
          </p:cNvPr>
          <p:cNvSpPr/>
          <p:nvPr/>
        </p:nvSpPr>
        <p:spPr>
          <a:xfrm>
            <a:off x="431802" y="1800225"/>
            <a:ext cx="2664159" cy="2881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000"/>
              </a:spcAft>
            </a:pPr>
            <a:r>
              <a:rPr lang="de-DE" sz="1600" b="1" dirty="0">
                <a:solidFill>
                  <a:schemeClr val="bg1"/>
                </a:solidFill>
              </a:rPr>
              <a:t>Trinkwasseruntersuchung 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92635406-A4D2-19A9-02FC-A5CD3B3B278C}"/>
              </a:ext>
            </a:extLst>
          </p:cNvPr>
          <p:cNvSpPr/>
          <p:nvPr/>
        </p:nvSpPr>
        <p:spPr>
          <a:xfrm>
            <a:off x="429039" y="3024435"/>
            <a:ext cx="2664159" cy="2038680"/>
          </a:xfrm>
          <a:prstGeom prst="rect">
            <a:avLst/>
          </a:prstGeom>
          <a:solidFill>
            <a:srgbClr val="BFD9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000"/>
              </a:spcAft>
            </a:pPr>
            <a:endParaRPr lang="de-DE" sz="1800" dirty="0" err="1">
              <a:solidFill>
                <a:schemeClr val="bg1"/>
              </a:solidFill>
            </a:endParaRPr>
          </a:p>
        </p:txBody>
      </p:sp>
      <p:sp>
        <p:nvSpPr>
          <p:cNvPr id="32" name="AutoShape 11">
            <a:extLst>
              <a:ext uri="{FF2B5EF4-FFF2-40B4-BE49-F238E27FC236}">
                <a16:creationId xmlns:a16="http://schemas.microsoft.com/office/drawing/2014/main" id="{F2813DE5-DDA7-5103-7B53-63646DB2D55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2984" y="3538394"/>
            <a:ext cx="2378551" cy="1423134"/>
          </a:xfrm>
          <a:prstGeom prst="chevron">
            <a:avLst>
              <a:gd name="adj" fmla="val 0"/>
            </a:avLst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0" anchor="t" anchorCtr="0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600" b="1" kern="0" dirty="0">
              <a:solidFill>
                <a:srgbClr val="FFFFFF"/>
              </a:solidFill>
              <a:latin typeface="Trebuchet MS" panose="020B0603020202020204" pitchFamily="34" charset="0"/>
              <a:cs typeface="Arial" charset="0"/>
            </a:endParaRPr>
          </a:p>
        </p:txBody>
      </p:sp>
      <p:sp>
        <p:nvSpPr>
          <p:cNvPr id="33" name="Inhaltsplatzhalter 11">
            <a:extLst>
              <a:ext uri="{FF2B5EF4-FFF2-40B4-BE49-F238E27FC236}">
                <a16:creationId xmlns:a16="http://schemas.microsoft.com/office/drawing/2014/main" id="{21D8A294-23B5-4F91-50AF-BF1B95BBD52C}"/>
              </a:ext>
            </a:extLst>
          </p:cNvPr>
          <p:cNvSpPr txBox="1">
            <a:spLocks/>
          </p:cNvSpPr>
          <p:nvPr/>
        </p:nvSpPr>
        <p:spPr>
          <a:xfrm>
            <a:off x="652595" y="3885261"/>
            <a:ext cx="2154924" cy="1127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de-DE" sz="400" spc="-20" dirty="0">
                <a:latin typeface="Arial Narrow" panose="020B0606020202030204" pitchFamily="34" charset="0"/>
              </a:rPr>
              <a:t>Die anlagenbezogenen Vollanalysen des von uns bereitgestellten Trinkwassers – auch hinsichtlich der von den Installateuren</a:t>
            </a:r>
            <a:br>
              <a:rPr lang="de-DE" sz="400" spc="-20" dirty="0">
                <a:latin typeface="Arial Narrow" panose="020B0606020202030204" pitchFamily="34" charset="0"/>
              </a:rPr>
            </a:br>
            <a:r>
              <a:rPr lang="de-DE" sz="400" spc="-20" dirty="0">
                <a:latin typeface="Arial Narrow" panose="020B0606020202030204" pitchFamily="34" charset="0"/>
              </a:rPr>
              <a:t>für die Auswahl der geeigneten Materialien für die Trinkwasser-Hausinstallation  benötigten wichtigen korrosionschemischen Parameter – können jederzeit auf unserer Webseite eingesehen und im Bedarfsfall ausgedruckt werden.</a:t>
            </a:r>
            <a:br>
              <a:rPr lang="de-DE" sz="400" spc="-20" dirty="0">
                <a:latin typeface="Arial Narrow" panose="020B0606020202030204" pitchFamily="34" charset="0"/>
              </a:rPr>
            </a:br>
            <a:br>
              <a:rPr lang="de-DE" sz="400" spc="-20" dirty="0">
                <a:latin typeface="Arial Narrow" panose="020B0606020202030204" pitchFamily="34" charset="0"/>
              </a:rPr>
            </a:br>
            <a:r>
              <a:rPr lang="de-DE" sz="400" spc="-20" dirty="0">
                <a:latin typeface="Arial Narrow" panose="020B0606020202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vs-muster.de/trinkwasseranalysen</a:t>
            </a:r>
            <a:endParaRPr lang="de-DE" sz="400" dirty="0">
              <a:latin typeface="Arial Narrow" panose="020B060602020203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de-DE" sz="400" dirty="0">
                <a:latin typeface="Arial Narrow" panose="020B0606020202030204" pitchFamily="34" charset="0"/>
              </a:rPr>
              <a:t>Grundstücksbezogene Angaben – auch zum am Hausanschluss anstehenden Wasserdruck – finden Sie unter </a:t>
            </a:r>
            <a:r>
              <a:rPr lang="de-DE" sz="400" dirty="0">
                <a:latin typeface="Arial Narrow" panose="020B060602020203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vs-muster.de/qualitaet</a:t>
            </a:r>
            <a:r>
              <a:rPr lang="de-DE" sz="400" dirty="0">
                <a:latin typeface="Arial Narrow" panose="020B0606020202030204" pitchFamily="34" charset="0"/>
              </a:rPr>
              <a:t> nach Anklicken des Buttons „Wissenswertes über Ihr Trinkwasser“.</a:t>
            </a:r>
            <a:br>
              <a:rPr lang="de-DE" sz="400" dirty="0">
                <a:latin typeface="Arial Narrow" panose="020B0606020202030204" pitchFamily="34" charset="0"/>
              </a:rPr>
            </a:br>
            <a:br>
              <a:rPr lang="de-DE" sz="400" dirty="0">
                <a:latin typeface="Arial Narrow" panose="020B0606020202030204" pitchFamily="34" charset="0"/>
              </a:rPr>
            </a:br>
            <a:endParaRPr lang="de-DE" sz="400" dirty="0">
              <a:latin typeface="Arial Narrow" panose="020B0606020202030204" pitchFamily="34" charset="0"/>
            </a:endParaRPr>
          </a:p>
        </p:txBody>
      </p:sp>
      <p:sp>
        <p:nvSpPr>
          <p:cNvPr id="37" name="AutoShape 11">
            <a:extLst>
              <a:ext uri="{FF2B5EF4-FFF2-40B4-BE49-F238E27FC236}">
                <a16:creationId xmlns:a16="http://schemas.microsoft.com/office/drawing/2014/main" id="{95B193D0-38B9-407E-C100-192F65C3BAC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2983" y="3587079"/>
            <a:ext cx="2378552" cy="361670"/>
          </a:xfrm>
          <a:prstGeom prst="chevron">
            <a:avLst>
              <a:gd name="adj" fmla="val 0"/>
            </a:avLst>
          </a:prstGeom>
          <a:noFill/>
          <a:ln w="9525" algn="ctr">
            <a:solidFill>
              <a:srgbClr val="FFFFFF"/>
            </a:solidFill>
            <a:miter lim="800000"/>
            <a:headEnd/>
            <a:tailEnd/>
          </a:ln>
        </p:spPr>
        <p:txBody>
          <a:bodyPr wrap="none" lIns="36000" tIns="36000" rIns="36000" bIns="0" anchor="t" anchorCtr="0"/>
          <a:lstStyle/>
          <a:p>
            <a:pPr marL="42863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latin typeface="Arial Narrow" panose="020B0606020202030204" pitchFamily="34" charset="0"/>
              </a:rPr>
              <a:t>Trinkwasser ist eines der wichtigsten Lebensmittel und steht unseren </a:t>
            </a:r>
          </a:p>
          <a:p>
            <a:pPr marL="42863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latin typeface="Arial Narrow" panose="020B0606020202030204" pitchFamily="34" charset="0"/>
              </a:rPr>
              <a:t>Kunden jederzeit in hervorragender Qualität zur Verfügung</a:t>
            </a:r>
            <a:endParaRPr lang="de-DE" sz="600" b="1" kern="0" dirty="0"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9053885A-4C8A-4C4C-21D8-78FBEF4394FD}"/>
              </a:ext>
            </a:extLst>
          </p:cNvPr>
          <p:cNvSpPr/>
          <p:nvPr/>
        </p:nvSpPr>
        <p:spPr>
          <a:xfrm>
            <a:off x="3275156" y="3024435"/>
            <a:ext cx="2664159" cy="2038680"/>
          </a:xfrm>
          <a:prstGeom prst="rect">
            <a:avLst/>
          </a:prstGeom>
          <a:solidFill>
            <a:srgbClr val="BFD9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000"/>
              </a:spcAft>
            </a:pPr>
            <a:endParaRPr lang="de-DE" sz="1800" dirty="0" err="1">
              <a:solidFill>
                <a:schemeClr val="bg1"/>
              </a:solidFill>
            </a:endParaRPr>
          </a:p>
        </p:txBody>
      </p:sp>
      <p:sp>
        <p:nvSpPr>
          <p:cNvPr id="43" name="AutoShape 11">
            <a:extLst>
              <a:ext uri="{FF2B5EF4-FFF2-40B4-BE49-F238E27FC236}">
                <a16:creationId xmlns:a16="http://schemas.microsoft.com/office/drawing/2014/main" id="{9DEFF0D7-3547-FA4F-503D-73AA8335AB4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20959" y="3538394"/>
            <a:ext cx="2378551" cy="1423134"/>
          </a:xfrm>
          <a:prstGeom prst="chevron">
            <a:avLst>
              <a:gd name="adj" fmla="val 0"/>
            </a:avLst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0" anchor="t" anchorCtr="0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600" b="1" kern="0" dirty="0">
              <a:solidFill>
                <a:srgbClr val="FFFFFF"/>
              </a:solidFill>
              <a:latin typeface="Trebuchet MS" panose="020B0603020202020204" pitchFamily="34" charset="0"/>
              <a:cs typeface="Arial" charset="0"/>
            </a:endParaRPr>
          </a:p>
        </p:txBody>
      </p:sp>
      <p:sp>
        <p:nvSpPr>
          <p:cNvPr id="44" name="Inhaltsplatzhalter 11">
            <a:extLst>
              <a:ext uri="{FF2B5EF4-FFF2-40B4-BE49-F238E27FC236}">
                <a16:creationId xmlns:a16="http://schemas.microsoft.com/office/drawing/2014/main" id="{9563A974-0917-A811-B3A4-3BDF903E25FA}"/>
              </a:ext>
            </a:extLst>
          </p:cNvPr>
          <p:cNvSpPr txBox="1">
            <a:spLocks/>
          </p:cNvSpPr>
          <p:nvPr/>
        </p:nvSpPr>
        <p:spPr>
          <a:xfrm>
            <a:off x="3500569" y="3885262"/>
            <a:ext cx="2259277" cy="795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2388" indent="-52388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</a:pPr>
            <a:r>
              <a:rPr lang="de-DE" sz="400" dirty="0">
                <a:latin typeface="Arial Narrow" panose="020B0606020202030204" pitchFamily="34" charset="0"/>
              </a:rPr>
              <a:t>Die Menge der im Wasser gelösten Calcium-Ionen bestimmt den Härtebereich des Wassers. </a:t>
            </a:r>
            <a:br>
              <a:rPr lang="de-DE" sz="400" dirty="0">
                <a:latin typeface="Arial Narrow" panose="020B0606020202030204" pitchFamily="34" charset="0"/>
              </a:rPr>
            </a:br>
            <a:r>
              <a:rPr lang="de-DE" sz="400" dirty="0">
                <a:latin typeface="Arial Narrow" panose="020B0606020202030204" pitchFamily="34" charset="0"/>
              </a:rPr>
              <a:t>Calcium ist neben weiteren Mineralien natürlicher Bestandteil der Erdkruste und somit</a:t>
            </a:r>
            <a:br>
              <a:rPr lang="de-DE" sz="400" dirty="0">
                <a:latin typeface="Arial Narrow" panose="020B0606020202030204" pitchFamily="34" charset="0"/>
              </a:rPr>
            </a:br>
            <a:r>
              <a:rPr lang="de-DE" sz="400" dirty="0">
                <a:latin typeface="Arial Narrow" panose="020B0606020202030204" pitchFamily="34" charset="0"/>
              </a:rPr>
              <a:t>auch des Trinkwassers.</a:t>
            </a:r>
          </a:p>
          <a:p>
            <a:pPr marL="122238" indent="-698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400" dirty="0">
                <a:latin typeface="Arial Narrow" panose="020B0606020202030204" pitchFamily="34" charset="0"/>
              </a:rPr>
              <a:t>Härtebereich 1 (weich): weniger als 1,5 Millimol Calciumcarbonat je Liter (entspricht ca. 60 mg/l)</a:t>
            </a:r>
          </a:p>
          <a:p>
            <a:pPr marL="122238" lvl="1" indent="-698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400" dirty="0">
                <a:latin typeface="Arial Narrow" panose="020B0606020202030204" pitchFamily="34" charset="0"/>
              </a:rPr>
              <a:t>Härtebereich 2 (mittel): 1,5 bis 2,5 Millimol Calciumcarbonat je Liter  (entspricht ca. 60 bis 100 mg/l)</a:t>
            </a:r>
          </a:p>
          <a:p>
            <a:pPr marL="122238" lvl="1" indent="-698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400" dirty="0">
                <a:latin typeface="Arial Narrow" panose="020B0606020202030204" pitchFamily="34" charset="0"/>
              </a:rPr>
              <a:t>Härtebereich 3 (hart):    mehr als 2,5 Millimol Calciumcarbonat je Liter (über ca. 100 mg/l)</a:t>
            </a:r>
          </a:p>
          <a:p>
            <a:pPr marL="47625" indent="-4762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400" dirty="0">
              <a:latin typeface="Arial Narrow" panose="020B0606020202030204" pitchFamily="34" charset="0"/>
            </a:endParaRPr>
          </a:p>
          <a:p>
            <a:pPr marL="47625" indent="-47625">
              <a:lnSpc>
                <a:spcPct val="100000"/>
              </a:lnSpc>
              <a:spcBef>
                <a:spcPts val="0"/>
              </a:spcBef>
              <a:spcAft>
                <a:spcPts val="250"/>
              </a:spcAft>
              <a:buFont typeface="Arial" panose="020B0604020202020204" pitchFamily="34" charset="0"/>
              <a:buChar char="•"/>
            </a:pPr>
            <a:r>
              <a:rPr lang="de-DE" sz="400" dirty="0">
                <a:latin typeface="Arial Narrow" panose="020B0606020202030204" pitchFamily="34" charset="0"/>
              </a:rPr>
              <a:t>Die Härte unseres Trinkwassers unterscheidet sich in den verschiedenen versorgten Ortslagen. </a:t>
            </a:r>
          </a:p>
          <a:p>
            <a:pPr marL="47625" indent="-4762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400" dirty="0">
                <a:latin typeface="Arial Narrow" panose="020B0606020202030204" pitchFamily="34" charset="0"/>
              </a:rPr>
              <a:t>Eine ortslagenbezogene Übersicht steht unter </a:t>
            </a:r>
            <a:r>
              <a:rPr lang="de-DE" sz="400" dirty="0">
                <a:solidFill>
                  <a:srgbClr val="0070C0"/>
                </a:solidFill>
                <a:latin typeface="Arial Narrow" panose="020B060602020203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wv-muster.de/</a:t>
            </a:r>
            <a:r>
              <a:rPr lang="de-DE" sz="400" dirty="0">
                <a:solidFill>
                  <a:srgbClr val="0070C0"/>
                </a:solidFill>
                <a:latin typeface="Arial Narrow" panose="020B0606020202030204" pitchFamily="34" charset="0"/>
              </a:rPr>
              <a:t>wasserhaerte </a:t>
            </a:r>
            <a:r>
              <a:rPr lang="de-DE" sz="400" dirty="0">
                <a:latin typeface="Arial Narrow" panose="020B0606020202030204" pitchFamily="34" charset="0"/>
              </a:rPr>
              <a:t>auf unserer Webseite zur Verfügung. Die grundstücksspezifische Angabe finden Sie auch auf Ihrer Wasserrechnung. Dort ist zusätzlich angegeben, aus welchen unserer Gewinnungsanlagen das betreffende Grundstück versorgt wird.</a:t>
            </a:r>
          </a:p>
        </p:txBody>
      </p:sp>
      <p:sp>
        <p:nvSpPr>
          <p:cNvPr id="48" name="AutoShape 11">
            <a:extLst>
              <a:ext uri="{FF2B5EF4-FFF2-40B4-BE49-F238E27FC236}">
                <a16:creationId xmlns:a16="http://schemas.microsoft.com/office/drawing/2014/main" id="{5635D73F-7ABD-BE66-A335-A1A568A42999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20958" y="3587079"/>
            <a:ext cx="2378552" cy="361670"/>
          </a:xfrm>
          <a:prstGeom prst="chevron">
            <a:avLst>
              <a:gd name="adj" fmla="val 0"/>
            </a:avLst>
          </a:prstGeom>
          <a:noFill/>
          <a:ln w="9525" algn="ctr">
            <a:solidFill>
              <a:srgbClr val="FFFFFF"/>
            </a:solidFill>
            <a:miter lim="800000"/>
            <a:headEnd/>
            <a:tailEnd/>
          </a:ln>
        </p:spPr>
        <p:txBody>
          <a:bodyPr wrap="none" lIns="36000" tIns="36000" rIns="36000" bIns="0" anchor="t" anchorCtr="0"/>
          <a:lstStyle/>
          <a:p>
            <a:pPr marL="42863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latin typeface="Arial Narrow" panose="020B0606020202030204" pitchFamily="34" charset="0"/>
              </a:rPr>
              <a:t>Die Wasserhärte wird durch Calcium bestimmt, das natürlicher </a:t>
            </a:r>
          </a:p>
          <a:p>
            <a:pPr marL="42863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latin typeface="Arial Narrow" panose="020B0606020202030204" pitchFamily="34" charset="0"/>
              </a:rPr>
              <a:t>Bestandteil des Trinkwassers ist</a:t>
            </a:r>
            <a:endParaRPr lang="de-DE" sz="600" b="1" kern="0" dirty="0"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E2E8B678-C3B9-5631-4D6B-B0813E739C76}"/>
              </a:ext>
            </a:extLst>
          </p:cNvPr>
          <p:cNvSpPr/>
          <p:nvPr/>
        </p:nvSpPr>
        <p:spPr>
          <a:xfrm>
            <a:off x="6119480" y="3024435"/>
            <a:ext cx="2664159" cy="2038680"/>
          </a:xfrm>
          <a:prstGeom prst="rect">
            <a:avLst/>
          </a:prstGeom>
          <a:solidFill>
            <a:srgbClr val="BFD9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000"/>
              </a:spcAft>
            </a:pPr>
            <a:endParaRPr lang="de-DE" sz="1800" dirty="0" err="1">
              <a:solidFill>
                <a:schemeClr val="bg1"/>
              </a:solidFill>
            </a:endParaRPr>
          </a:p>
        </p:txBody>
      </p:sp>
      <p:sp>
        <p:nvSpPr>
          <p:cNvPr id="50" name="AutoShape 11">
            <a:extLst>
              <a:ext uri="{FF2B5EF4-FFF2-40B4-BE49-F238E27FC236}">
                <a16:creationId xmlns:a16="http://schemas.microsoft.com/office/drawing/2014/main" id="{94E043DA-9878-5285-7347-89831F4197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64172" y="3538394"/>
            <a:ext cx="2378551" cy="1423134"/>
          </a:xfrm>
          <a:prstGeom prst="chevron">
            <a:avLst>
              <a:gd name="adj" fmla="val 0"/>
            </a:avLst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6000" rIns="36000" bIns="0" anchor="t" anchorCtr="0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600" b="1" kern="0" dirty="0">
              <a:solidFill>
                <a:srgbClr val="FFFFFF"/>
              </a:solidFill>
              <a:latin typeface="Trebuchet MS" panose="020B0603020202020204" pitchFamily="34" charset="0"/>
              <a:cs typeface="Arial" charset="0"/>
            </a:endParaRPr>
          </a:p>
        </p:txBody>
      </p:sp>
      <p:sp>
        <p:nvSpPr>
          <p:cNvPr id="57" name="AutoShape 11">
            <a:extLst>
              <a:ext uri="{FF2B5EF4-FFF2-40B4-BE49-F238E27FC236}">
                <a16:creationId xmlns:a16="http://schemas.microsoft.com/office/drawing/2014/main" id="{82CBEF3E-9B95-6B26-6FF1-B03F9AEFEA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64171" y="3587079"/>
            <a:ext cx="2378552" cy="361670"/>
          </a:xfrm>
          <a:prstGeom prst="chevron">
            <a:avLst>
              <a:gd name="adj" fmla="val 0"/>
            </a:avLst>
          </a:prstGeom>
          <a:noFill/>
          <a:ln w="9525" algn="ctr">
            <a:solidFill>
              <a:srgbClr val="FFFFFF"/>
            </a:solidFill>
            <a:miter lim="800000"/>
            <a:headEnd/>
            <a:tailEnd/>
          </a:ln>
        </p:spPr>
        <p:txBody>
          <a:bodyPr wrap="none" lIns="36000" tIns="36000" rIns="36000" bIns="0" anchor="t" anchorCtr="0"/>
          <a:lstStyle/>
          <a:p>
            <a:pPr marL="42863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latin typeface="Arial Narrow" panose="020B0606020202030204" pitchFamily="34" charset="0"/>
              </a:rPr>
              <a:t>Auch die Mineralien Calcium, Magnesium und Kalium sind natürliche </a:t>
            </a:r>
          </a:p>
          <a:p>
            <a:pPr marL="42863"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600" b="1" dirty="0">
                <a:latin typeface="Arial Narrow" panose="020B0606020202030204" pitchFamily="34" charset="0"/>
              </a:rPr>
              <a:t>Inhaltsstoffe des Trinkwassers</a:t>
            </a:r>
            <a:br>
              <a:rPr lang="de-DE" sz="600" b="1" dirty="0">
                <a:latin typeface="Arial Narrow" panose="020B0606020202030204" pitchFamily="34" charset="0"/>
              </a:rPr>
            </a:br>
            <a:br>
              <a:rPr lang="de-DE" sz="600" b="1" dirty="0">
                <a:latin typeface="Arial Narrow" panose="020B0606020202030204" pitchFamily="34" charset="0"/>
              </a:rPr>
            </a:br>
            <a:br>
              <a:rPr lang="de-DE" sz="600" b="1" dirty="0">
                <a:latin typeface="Arial Narrow" panose="020B0606020202030204" pitchFamily="34" charset="0"/>
              </a:rPr>
            </a:br>
            <a:br>
              <a:rPr lang="de-DE" sz="600" b="1" dirty="0">
                <a:latin typeface="Arial Narrow" panose="020B0606020202030204" pitchFamily="34" charset="0"/>
              </a:rPr>
            </a:br>
            <a:endParaRPr lang="de-DE" sz="600" b="1" kern="0" dirty="0">
              <a:latin typeface="Arial Narrow" panose="020B0606020202030204" pitchFamily="34" charset="0"/>
              <a:cs typeface="Arial" charset="0"/>
            </a:endParaRPr>
          </a:p>
        </p:txBody>
      </p:sp>
      <p:graphicFrame>
        <p:nvGraphicFramePr>
          <p:cNvPr id="60" name="Tabelle 14">
            <a:extLst>
              <a:ext uri="{FF2B5EF4-FFF2-40B4-BE49-F238E27FC236}">
                <a16:creationId xmlns:a16="http://schemas.microsoft.com/office/drawing/2014/main" id="{CC768C38-B5FA-6B07-2EDD-6ADFDF0CC30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31462106"/>
              </p:ext>
            </p:extLst>
          </p:nvPr>
        </p:nvGraphicFramePr>
        <p:xfrm>
          <a:off x="6339090" y="3886665"/>
          <a:ext cx="2223753" cy="8429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8909">
                  <a:extLst>
                    <a:ext uri="{9D8B030D-6E8A-4147-A177-3AD203B41FA5}">
                      <a16:colId xmlns:a16="http://schemas.microsoft.com/office/drawing/2014/main" val="484222168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513381989"/>
                    </a:ext>
                  </a:extLst>
                </a:gridCol>
                <a:gridCol w="428106">
                  <a:extLst>
                    <a:ext uri="{9D8B030D-6E8A-4147-A177-3AD203B41FA5}">
                      <a16:colId xmlns:a16="http://schemas.microsoft.com/office/drawing/2014/main" val="1653862758"/>
                    </a:ext>
                  </a:extLst>
                </a:gridCol>
                <a:gridCol w="574690">
                  <a:extLst>
                    <a:ext uri="{9D8B030D-6E8A-4147-A177-3AD203B41FA5}">
                      <a16:colId xmlns:a16="http://schemas.microsoft.com/office/drawing/2014/main" val="1944892857"/>
                    </a:ext>
                  </a:extLst>
                </a:gridCol>
              </a:tblGrid>
              <a:tr h="109738">
                <a:tc>
                  <a:txBody>
                    <a:bodyPr/>
                    <a:lstStyle/>
                    <a:p>
                      <a:pPr rtl="0"/>
                      <a:endParaRPr lang="de-DE" sz="500" dirty="0">
                        <a:latin typeface="Arial Narrow" panose="020B0606020202030204" pitchFamily="34" charset="0"/>
                      </a:endParaRP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marL="0" marR="0" lvl="0" indent="0" algn="r" defTabSz="6911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500" i="0" dirty="0">
                          <a:latin typeface="Arial Narrow" panose="020B0606020202030204" pitchFamily="34" charset="0"/>
                        </a:rPr>
                        <a:t>Calcium in mg/Liter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marL="0" marR="0" lvl="0" indent="0" algn="r" defTabSz="6911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500" i="0" dirty="0">
                          <a:latin typeface="Arial Narrow" panose="020B0606020202030204" pitchFamily="34" charset="0"/>
                        </a:rPr>
                        <a:t>Kalium in mg/Liter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marL="0" marR="0" lvl="0" indent="0" algn="r" defTabSz="6911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500" i="0" dirty="0">
                          <a:latin typeface="Arial Narrow" panose="020B0606020202030204" pitchFamily="34" charset="0"/>
                        </a:rPr>
                        <a:t>Magnesium in mg/Liter</a:t>
                      </a:r>
                    </a:p>
                  </a:txBody>
                  <a:tcPr marL="32127" marR="32127" marT="16064" marB="16064"/>
                </a:tc>
                <a:extLst>
                  <a:ext uri="{0D108BD9-81ED-4DB2-BD59-A6C34878D82A}">
                    <a16:rowId xmlns:a16="http://schemas.microsoft.com/office/drawing/2014/main" val="3979677743"/>
                  </a:ext>
                </a:extLst>
              </a:tr>
              <a:tr h="109738">
                <a:tc>
                  <a:txBody>
                    <a:bodyPr/>
                    <a:lstStyle/>
                    <a:p>
                      <a:pPr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TWA Musterdorf 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60,5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4,5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22,0</a:t>
                      </a:r>
                    </a:p>
                  </a:txBody>
                  <a:tcPr marL="32127" marR="32127" marT="16064" marB="16064"/>
                </a:tc>
                <a:extLst>
                  <a:ext uri="{0D108BD9-81ED-4DB2-BD59-A6C34878D82A}">
                    <a16:rowId xmlns:a16="http://schemas.microsoft.com/office/drawing/2014/main" val="3330642218"/>
                  </a:ext>
                </a:extLst>
              </a:tr>
              <a:tr h="109738">
                <a:tc>
                  <a:txBody>
                    <a:bodyPr/>
                    <a:lstStyle/>
                    <a:p>
                      <a:pPr marL="0" marR="0" lvl="0" indent="0" algn="l" defTabSz="6911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500" dirty="0">
                          <a:latin typeface="Arial Narrow" panose="020B0606020202030204" pitchFamily="34" charset="0"/>
                        </a:rPr>
                        <a:t>TWA Ortsteil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72,8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3,7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16,6</a:t>
                      </a:r>
                    </a:p>
                  </a:txBody>
                  <a:tcPr marL="32127" marR="32127" marT="16064" marB="16064"/>
                </a:tc>
                <a:extLst>
                  <a:ext uri="{0D108BD9-81ED-4DB2-BD59-A6C34878D82A}">
                    <a16:rowId xmlns:a16="http://schemas.microsoft.com/office/drawing/2014/main" val="4069000988"/>
                  </a:ext>
                </a:extLst>
              </a:tr>
              <a:tr h="109738">
                <a:tc>
                  <a:txBody>
                    <a:bodyPr/>
                    <a:lstStyle/>
                    <a:p>
                      <a:pPr marL="0" marR="0" lvl="0" indent="0" algn="l" defTabSz="6911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500" dirty="0">
                          <a:latin typeface="Arial Narrow" panose="020B0606020202030204" pitchFamily="34" charset="0"/>
                        </a:rPr>
                        <a:t>WW Umgehungsstraße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106,0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5,0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48,1</a:t>
                      </a:r>
                    </a:p>
                  </a:txBody>
                  <a:tcPr marL="32127" marR="32127" marT="16064" marB="16064"/>
                </a:tc>
                <a:extLst>
                  <a:ext uri="{0D108BD9-81ED-4DB2-BD59-A6C34878D82A}">
                    <a16:rowId xmlns:a16="http://schemas.microsoft.com/office/drawing/2014/main" val="2618817606"/>
                  </a:ext>
                </a:extLst>
              </a:tr>
              <a:tr h="109738">
                <a:tc>
                  <a:txBody>
                    <a:bodyPr/>
                    <a:lstStyle/>
                    <a:p>
                      <a:pPr marL="0" marR="0" lvl="0" indent="0" algn="l" defTabSz="6911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500" dirty="0">
                          <a:latin typeface="Arial Narrow" panose="020B0606020202030204" pitchFamily="34" charset="0"/>
                        </a:rPr>
                        <a:t>WW Waldweg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103,0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4,9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48,8</a:t>
                      </a:r>
                    </a:p>
                  </a:txBody>
                  <a:tcPr marL="32127" marR="32127" marT="16064" marB="16064"/>
                </a:tc>
                <a:extLst>
                  <a:ext uri="{0D108BD9-81ED-4DB2-BD59-A6C34878D82A}">
                    <a16:rowId xmlns:a16="http://schemas.microsoft.com/office/drawing/2014/main" val="2567878729"/>
                  </a:ext>
                </a:extLst>
              </a:tr>
              <a:tr h="109738">
                <a:tc>
                  <a:txBody>
                    <a:bodyPr/>
                    <a:lstStyle/>
                    <a:p>
                      <a:pPr marL="0" marR="0" lvl="0" indent="0" algn="l" defTabSz="6911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500" dirty="0">
                          <a:latin typeface="Arial Narrow" panose="020B0606020202030204" pitchFamily="34" charset="0"/>
                        </a:rPr>
                        <a:t>Talsperrenwasser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19,6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3,4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1,3</a:t>
                      </a:r>
                    </a:p>
                  </a:txBody>
                  <a:tcPr marL="32127" marR="32127" marT="16064" marB="16064"/>
                </a:tc>
                <a:extLst>
                  <a:ext uri="{0D108BD9-81ED-4DB2-BD59-A6C34878D82A}">
                    <a16:rowId xmlns:a16="http://schemas.microsoft.com/office/drawing/2014/main" val="3572832115"/>
                  </a:ext>
                </a:extLst>
              </a:tr>
              <a:tr h="109738">
                <a:tc>
                  <a:txBody>
                    <a:bodyPr/>
                    <a:lstStyle/>
                    <a:p>
                      <a:pPr marL="0" marR="0" lvl="0" indent="0" algn="l" defTabSz="6911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500" dirty="0">
                          <a:latin typeface="Arial Narrow" panose="020B0606020202030204" pitchFamily="34" charset="0"/>
                        </a:rPr>
                        <a:t>TWA Oberland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62,1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2,4</a:t>
                      </a:r>
                    </a:p>
                  </a:txBody>
                  <a:tcPr marL="32127" marR="32127" marT="16064" marB="16064"/>
                </a:tc>
                <a:tc>
                  <a:txBody>
                    <a:bodyPr/>
                    <a:lstStyle/>
                    <a:p>
                      <a:pPr algn="r" rtl="0"/>
                      <a:r>
                        <a:rPr lang="de-DE" sz="500" dirty="0">
                          <a:latin typeface="Arial Narrow" panose="020B0606020202030204" pitchFamily="34" charset="0"/>
                        </a:rPr>
                        <a:t>16,2</a:t>
                      </a:r>
                    </a:p>
                  </a:txBody>
                  <a:tcPr marL="32127" marR="32127" marT="16064" marB="16064"/>
                </a:tc>
                <a:extLst>
                  <a:ext uri="{0D108BD9-81ED-4DB2-BD59-A6C34878D82A}">
                    <a16:rowId xmlns:a16="http://schemas.microsoft.com/office/drawing/2014/main" val="1993983067"/>
                  </a:ext>
                </a:extLst>
              </a:tr>
            </a:tbl>
          </a:graphicData>
        </a:graphic>
      </p:graphicFrame>
      <p:pic>
        <p:nvPicPr>
          <p:cNvPr id="66" name="Grafik 65" descr="Büroklammer Silhouette">
            <a:extLst>
              <a:ext uri="{FF2B5EF4-FFF2-40B4-BE49-F238E27FC236}">
                <a16:creationId xmlns:a16="http://schemas.microsoft.com/office/drawing/2014/main" id="{0684AE7E-3D11-BA48-9DC8-7E61CEF1162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714154" y="2938881"/>
            <a:ext cx="325401" cy="325401"/>
          </a:xfrm>
          <a:prstGeom prst="rect">
            <a:avLst/>
          </a:prstGeom>
        </p:spPr>
      </p:pic>
      <p:pic>
        <p:nvPicPr>
          <p:cNvPr id="67" name="Grafik 66" descr="Büroklammer Silhouette">
            <a:extLst>
              <a:ext uri="{FF2B5EF4-FFF2-40B4-BE49-F238E27FC236}">
                <a16:creationId xmlns:a16="http://schemas.microsoft.com/office/drawing/2014/main" id="{570DCD95-0FFC-8F4B-C4F1-824503F035B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43086" y="2938881"/>
            <a:ext cx="325401" cy="325401"/>
          </a:xfrm>
          <a:prstGeom prst="rect">
            <a:avLst/>
          </a:prstGeom>
        </p:spPr>
      </p:pic>
      <p:pic>
        <p:nvPicPr>
          <p:cNvPr id="68" name="Grafik 67" descr="Büroklammer Silhouette">
            <a:extLst>
              <a:ext uri="{FF2B5EF4-FFF2-40B4-BE49-F238E27FC236}">
                <a16:creationId xmlns:a16="http://schemas.microsoft.com/office/drawing/2014/main" id="{1C75B169-D78F-7B9A-61C1-084018B37BC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424399" y="2938881"/>
            <a:ext cx="325401" cy="325401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FC90D2CA-2AFE-7DD1-056A-19EDE6E19FF6}"/>
              </a:ext>
            </a:extLst>
          </p:cNvPr>
          <p:cNvGrpSpPr/>
          <p:nvPr/>
        </p:nvGrpSpPr>
        <p:grpSpPr>
          <a:xfrm>
            <a:off x="460251" y="3127499"/>
            <a:ext cx="2411188" cy="332798"/>
            <a:chOff x="5575260" y="1893091"/>
            <a:chExt cx="2411188" cy="332798"/>
          </a:xfrm>
        </p:grpSpPr>
        <p:sp>
          <p:nvSpPr>
            <p:cNvPr id="29" name="Inhaltsplatzhalter 11">
              <a:extLst>
                <a:ext uri="{FF2B5EF4-FFF2-40B4-BE49-F238E27FC236}">
                  <a16:creationId xmlns:a16="http://schemas.microsoft.com/office/drawing/2014/main" id="{592A18AA-82CD-EDA3-D8D7-7DF96378A675}"/>
                </a:ext>
              </a:extLst>
            </p:cNvPr>
            <p:cNvSpPr txBox="1">
              <a:spLocks/>
            </p:cNvSpPr>
            <p:nvPr/>
          </p:nvSpPr>
          <p:spPr>
            <a:xfrm>
              <a:off x="5903863" y="1937784"/>
              <a:ext cx="2082585" cy="28810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360000" indent="-360000" algn="l" defTabSz="691157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500"/>
                </a:spcAft>
                <a:buClr>
                  <a:schemeClr val="bg2"/>
                </a:buClr>
                <a:buFont typeface="Calibri" panose="020F050202020403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20000" indent="-360000" algn="l" defTabSz="691157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250"/>
                </a:spcAft>
                <a:buClr>
                  <a:schemeClr val="bg2"/>
                </a:buClr>
                <a:buFont typeface="Calibri" panose="020F0502020204030204" pitchFamily="34" charset="0"/>
                <a:buChar char="◦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80000" indent="-360000" algn="l" defTabSz="691157" rtl="0" eaLnBrk="1" latinLnBrk="0" hangingPunct="1">
                <a:lnSpc>
                  <a:spcPct val="90000"/>
                </a:lnSpc>
                <a:spcBef>
                  <a:spcPts val="250"/>
                </a:spcBef>
                <a:spcAft>
                  <a:spcPts val="150"/>
                </a:spcAft>
                <a:buClr>
                  <a:schemeClr val="tx1"/>
                </a:buClr>
                <a:buFont typeface="Calibri" panose="020F0502020204030204" pitchFamily="34" charset="0"/>
                <a:buChar char="◦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0000" indent="-360000" algn="l" defTabSz="691157" rtl="0" eaLnBrk="1" latinLnBrk="0" hangingPunct="1">
                <a:lnSpc>
                  <a:spcPct val="90000"/>
                </a:lnSpc>
                <a:spcBef>
                  <a:spcPts val="150"/>
                </a:spcBef>
                <a:spcAft>
                  <a:spcPts val="0"/>
                </a:spcAft>
                <a:buClr>
                  <a:schemeClr val="tx1"/>
                </a:buClr>
                <a:buFont typeface="Calibri" panose="020F0502020204030204" pitchFamily="34" charset="0"/>
                <a:buChar char="­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0" indent="-360000" algn="l" defTabSz="691157" rtl="0" eaLnBrk="1" latinLnBrk="0" hangingPunct="1">
                <a:lnSpc>
                  <a:spcPct val="90000"/>
                </a:lnSpc>
                <a:spcBef>
                  <a:spcPts val="100"/>
                </a:spcBef>
                <a:buClrTx/>
                <a:buFont typeface="Calibri" panose="020F0502020204030204" pitchFamily="34" charset="0"/>
                <a:buChar char="­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00683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46262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91840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37419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Calibri" panose="020F0502020204030204" pitchFamily="34" charset="0"/>
                <a:buNone/>
              </a:pPr>
              <a:r>
                <a:rPr lang="de-DE" sz="700" b="1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wvs</a:t>
              </a:r>
              <a:r>
                <a:rPr lang="de-DE" sz="700" dirty="0">
                  <a:solidFill>
                    <a:schemeClr val="accent3"/>
                  </a:solidFill>
                  <a:latin typeface="Arial Narrow" panose="020B0606020202030204" pitchFamily="34" charset="0"/>
                </a:rPr>
                <a:t> 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Calibri" panose="020F0502020204030204" pitchFamily="34" charset="0"/>
                <a:buNone/>
              </a:pPr>
              <a:r>
                <a:rPr lang="de-DE" sz="700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wasserversorgung</a:t>
              </a:r>
              <a:r>
                <a:rPr lang="de-DE" sz="700" dirty="0">
                  <a:solidFill>
                    <a:schemeClr val="accent3"/>
                  </a:solidFill>
                  <a:latin typeface="Arial Narrow" panose="020B0606020202030204" pitchFamily="34" charset="0"/>
                </a:rPr>
                <a:t> </a:t>
              </a:r>
              <a:r>
                <a:rPr lang="de-DE" sz="700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musterstadt</a:t>
              </a:r>
              <a:endParaRPr lang="de-DE" sz="700" dirty="0">
                <a:solidFill>
                  <a:schemeClr val="accent3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8DC74E74-D1E6-442E-E2E9-92322E3944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575260" y="1893091"/>
              <a:ext cx="329631" cy="329631"/>
            </a:xfrm>
            <a:prstGeom prst="rect">
              <a:avLst/>
            </a:prstGeom>
          </p:spPr>
        </p:pic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0BED7DA9-7CD1-6248-5906-0FF84565B459}"/>
              </a:ext>
            </a:extLst>
          </p:cNvPr>
          <p:cNvGrpSpPr/>
          <p:nvPr/>
        </p:nvGrpSpPr>
        <p:grpSpPr>
          <a:xfrm>
            <a:off x="3311401" y="3127499"/>
            <a:ext cx="2411188" cy="332798"/>
            <a:chOff x="5575260" y="1893091"/>
            <a:chExt cx="2411188" cy="332798"/>
          </a:xfrm>
        </p:grpSpPr>
        <p:sp>
          <p:nvSpPr>
            <p:cNvPr id="35" name="Inhaltsplatzhalter 11">
              <a:extLst>
                <a:ext uri="{FF2B5EF4-FFF2-40B4-BE49-F238E27FC236}">
                  <a16:creationId xmlns:a16="http://schemas.microsoft.com/office/drawing/2014/main" id="{6583412D-C1B8-510B-6C93-00C78657933D}"/>
                </a:ext>
              </a:extLst>
            </p:cNvPr>
            <p:cNvSpPr txBox="1">
              <a:spLocks/>
            </p:cNvSpPr>
            <p:nvPr/>
          </p:nvSpPr>
          <p:spPr>
            <a:xfrm>
              <a:off x="5903863" y="1937784"/>
              <a:ext cx="2082585" cy="28810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360000" indent="-360000" algn="l" defTabSz="691157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500"/>
                </a:spcAft>
                <a:buClr>
                  <a:schemeClr val="bg2"/>
                </a:buClr>
                <a:buFont typeface="Calibri" panose="020F050202020403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20000" indent="-360000" algn="l" defTabSz="691157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250"/>
                </a:spcAft>
                <a:buClr>
                  <a:schemeClr val="bg2"/>
                </a:buClr>
                <a:buFont typeface="Calibri" panose="020F0502020204030204" pitchFamily="34" charset="0"/>
                <a:buChar char="◦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80000" indent="-360000" algn="l" defTabSz="691157" rtl="0" eaLnBrk="1" latinLnBrk="0" hangingPunct="1">
                <a:lnSpc>
                  <a:spcPct val="90000"/>
                </a:lnSpc>
                <a:spcBef>
                  <a:spcPts val="250"/>
                </a:spcBef>
                <a:spcAft>
                  <a:spcPts val="150"/>
                </a:spcAft>
                <a:buClr>
                  <a:schemeClr val="tx1"/>
                </a:buClr>
                <a:buFont typeface="Calibri" panose="020F0502020204030204" pitchFamily="34" charset="0"/>
                <a:buChar char="◦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0000" indent="-360000" algn="l" defTabSz="691157" rtl="0" eaLnBrk="1" latinLnBrk="0" hangingPunct="1">
                <a:lnSpc>
                  <a:spcPct val="90000"/>
                </a:lnSpc>
                <a:spcBef>
                  <a:spcPts val="150"/>
                </a:spcBef>
                <a:spcAft>
                  <a:spcPts val="0"/>
                </a:spcAft>
                <a:buClr>
                  <a:schemeClr val="tx1"/>
                </a:buClr>
                <a:buFont typeface="Calibri" panose="020F0502020204030204" pitchFamily="34" charset="0"/>
                <a:buChar char="­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0" indent="-360000" algn="l" defTabSz="691157" rtl="0" eaLnBrk="1" latinLnBrk="0" hangingPunct="1">
                <a:lnSpc>
                  <a:spcPct val="90000"/>
                </a:lnSpc>
                <a:spcBef>
                  <a:spcPts val="100"/>
                </a:spcBef>
                <a:buClrTx/>
                <a:buFont typeface="Calibri" panose="020F0502020204030204" pitchFamily="34" charset="0"/>
                <a:buChar char="­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00683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46262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91840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37419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Calibri" panose="020F0502020204030204" pitchFamily="34" charset="0"/>
                <a:buNone/>
              </a:pPr>
              <a:r>
                <a:rPr lang="de-DE" sz="700" b="1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wvs</a:t>
              </a:r>
              <a:r>
                <a:rPr lang="de-DE" sz="700" dirty="0">
                  <a:solidFill>
                    <a:schemeClr val="accent3"/>
                  </a:solidFill>
                  <a:latin typeface="Arial Narrow" panose="020B0606020202030204" pitchFamily="34" charset="0"/>
                </a:rPr>
                <a:t> 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Calibri" panose="020F0502020204030204" pitchFamily="34" charset="0"/>
                <a:buNone/>
              </a:pPr>
              <a:r>
                <a:rPr lang="de-DE" sz="700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wasserversorgung</a:t>
              </a:r>
              <a:r>
                <a:rPr lang="de-DE" sz="700" dirty="0">
                  <a:solidFill>
                    <a:schemeClr val="accent3"/>
                  </a:solidFill>
                  <a:latin typeface="Arial Narrow" panose="020B0606020202030204" pitchFamily="34" charset="0"/>
                </a:rPr>
                <a:t> </a:t>
              </a:r>
              <a:r>
                <a:rPr lang="de-DE" sz="700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musterstadt</a:t>
              </a:r>
              <a:endParaRPr lang="de-DE" sz="700" dirty="0">
                <a:solidFill>
                  <a:schemeClr val="accent3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09FC1DBF-04F6-8578-BCB4-8F37D2F4B0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575260" y="1893091"/>
              <a:ext cx="329631" cy="329631"/>
            </a:xfrm>
            <a:prstGeom prst="rect">
              <a:avLst/>
            </a:prstGeom>
          </p:spPr>
        </p:pic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48EF571E-F11D-7A90-362C-B99437E714D7}"/>
              </a:ext>
            </a:extLst>
          </p:cNvPr>
          <p:cNvGrpSpPr/>
          <p:nvPr/>
        </p:nvGrpSpPr>
        <p:grpSpPr>
          <a:xfrm>
            <a:off x="6143501" y="3127499"/>
            <a:ext cx="2411188" cy="332798"/>
            <a:chOff x="5575260" y="1893091"/>
            <a:chExt cx="2411188" cy="332798"/>
          </a:xfrm>
        </p:grpSpPr>
        <p:sp>
          <p:nvSpPr>
            <p:cNvPr id="39" name="Inhaltsplatzhalter 11">
              <a:extLst>
                <a:ext uri="{FF2B5EF4-FFF2-40B4-BE49-F238E27FC236}">
                  <a16:creationId xmlns:a16="http://schemas.microsoft.com/office/drawing/2014/main" id="{18F0D5E8-0410-C20C-EE46-27F524602AC0}"/>
                </a:ext>
              </a:extLst>
            </p:cNvPr>
            <p:cNvSpPr txBox="1">
              <a:spLocks/>
            </p:cNvSpPr>
            <p:nvPr/>
          </p:nvSpPr>
          <p:spPr>
            <a:xfrm>
              <a:off x="5903863" y="1937784"/>
              <a:ext cx="2082585" cy="28810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360000" indent="-360000" algn="l" defTabSz="691157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500"/>
                </a:spcAft>
                <a:buClr>
                  <a:schemeClr val="bg2"/>
                </a:buClr>
                <a:buFont typeface="Calibri" panose="020F050202020403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20000" indent="-360000" algn="l" defTabSz="691157" rtl="0" eaLnBrk="1" latinLnBrk="0" hangingPunct="1">
                <a:lnSpc>
                  <a:spcPct val="90000"/>
                </a:lnSpc>
                <a:spcBef>
                  <a:spcPts val="500"/>
                </a:spcBef>
                <a:spcAft>
                  <a:spcPts val="250"/>
                </a:spcAft>
                <a:buClr>
                  <a:schemeClr val="bg2"/>
                </a:buClr>
                <a:buFont typeface="Calibri" panose="020F0502020204030204" pitchFamily="34" charset="0"/>
                <a:buChar char="◦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80000" indent="-360000" algn="l" defTabSz="691157" rtl="0" eaLnBrk="1" latinLnBrk="0" hangingPunct="1">
                <a:lnSpc>
                  <a:spcPct val="90000"/>
                </a:lnSpc>
                <a:spcBef>
                  <a:spcPts val="250"/>
                </a:spcBef>
                <a:spcAft>
                  <a:spcPts val="150"/>
                </a:spcAft>
                <a:buClr>
                  <a:schemeClr val="tx1"/>
                </a:buClr>
                <a:buFont typeface="Calibri" panose="020F0502020204030204" pitchFamily="34" charset="0"/>
                <a:buChar char="◦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0000" indent="-360000" algn="l" defTabSz="691157" rtl="0" eaLnBrk="1" latinLnBrk="0" hangingPunct="1">
                <a:lnSpc>
                  <a:spcPct val="90000"/>
                </a:lnSpc>
                <a:spcBef>
                  <a:spcPts val="150"/>
                </a:spcBef>
                <a:spcAft>
                  <a:spcPts val="0"/>
                </a:spcAft>
                <a:buClr>
                  <a:schemeClr val="tx1"/>
                </a:buClr>
                <a:buFont typeface="Calibri" panose="020F0502020204030204" pitchFamily="34" charset="0"/>
                <a:buChar char="­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0" indent="-360000" algn="l" defTabSz="691157" rtl="0" eaLnBrk="1" latinLnBrk="0" hangingPunct="1">
                <a:lnSpc>
                  <a:spcPct val="90000"/>
                </a:lnSpc>
                <a:spcBef>
                  <a:spcPts val="100"/>
                </a:spcBef>
                <a:buClrTx/>
                <a:buFont typeface="Calibri" panose="020F0502020204030204" pitchFamily="34" charset="0"/>
                <a:buChar char="­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00683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46262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91840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37419" indent="-172790" algn="l" defTabSz="691157" rtl="0" eaLnBrk="1" latinLnBrk="0" hangingPunct="1">
                <a:lnSpc>
                  <a:spcPct val="90000"/>
                </a:lnSpc>
                <a:spcBef>
                  <a:spcPts val="378"/>
                </a:spcBef>
                <a:buFont typeface="Arial" panose="020B0604020202020204" pitchFamily="34" charset="0"/>
                <a:buChar char="•"/>
                <a:defRPr sz="136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Calibri" panose="020F0502020204030204" pitchFamily="34" charset="0"/>
                <a:buNone/>
              </a:pPr>
              <a:r>
                <a:rPr lang="de-DE" sz="700" b="1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wvs</a:t>
              </a:r>
              <a:r>
                <a:rPr lang="de-DE" sz="700" dirty="0">
                  <a:solidFill>
                    <a:schemeClr val="accent3"/>
                  </a:solidFill>
                  <a:latin typeface="Arial Narrow" panose="020B0606020202030204" pitchFamily="34" charset="0"/>
                </a:rPr>
                <a:t> 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Calibri" panose="020F0502020204030204" pitchFamily="34" charset="0"/>
                <a:buNone/>
              </a:pPr>
              <a:r>
                <a:rPr lang="de-DE" sz="700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wasserversorgung</a:t>
              </a:r>
              <a:r>
                <a:rPr lang="de-DE" sz="700" dirty="0">
                  <a:solidFill>
                    <a:schemeClr val="accent3"/>
                  </a:solidFill>
                  <a:latin typeface="Arial Narrow" panose="020B0606020202030204" pitchFamily="34" charset="0"/>
                </a:rPr>
                <a:t> </a:t>
              </a:r>
              <a:r>
                <a:rPr lang="de-DE" sz="700" dirty="0" err="1">
                  <a:solidFill>
                    <a:schemeClr val="accent3"/>
                  </a:solidFill>
                  <a:latin typeface="Arial Narrow" panose="020B0606020202030204" pitchFamily="34" charset="0"/>
                </a:rPr>
                <a:t>musterstadt</a:t>
              </a:r>
              <a:endParaRPr lang="de-DE" sz="700" dirty="0">
                <a:solidFill>
                  <a:schemeClr val="accent3"/>
                </a:solidFill>
                <a:latin typeface="Arial Narrow" panose="020B0606020202030204" pitchFamily="34" charset="0"/>
              </a:endParaRPr>
            </a:p>
          </p:txBody>
        </p:sp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E14BF482-421C-FEE3-493B-7019C0A35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575260" y="1893091"/>
              <a:ext cx="329631" cy="3296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387460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C1D761A0-4EDD-4FD9-BBA0-F3643DF580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teile des Portals für Wasserversorgungsunternehm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136E459-FC50-4BD0-803B-2B2336F575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Kostenfreies Tool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Schnell und einfach zu bedienen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Gebäudescharfe Ausgabe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Abgrenzung der Einspeisezonen </a:t>
            </a:r>
            <a:br>
              <a:rPr lang="de-DE" dirty="0"/>
            </a:br>
            <a:r>
              <a:rPr lang="de-DE" dirty="0"/>
              <a:t>ist bereits hinterlegt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Informationspflichten erfüllt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Kontrolle über die geteilten Informationen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Vorteile für Kunden der Wasserversorger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einfache Bedienung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Übersichtliche Aufbereitung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Alle wesentlichen Informationen an einem Ort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9BD1A618-1B4B-470D-B5AC-3E6B1282A0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1D29CD-CC9B-48B1-AE67-A18A6DD28733}" type="datetime1">
              <a:rPr lang="de-DE" smtClean="0"/>
              <a:t>24.11.2022</a:t>
            </a:fld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E36F00B-076C-487C-8F83-A63989446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wasserportal.info: Infoservice für Wasserversorger und ihre Kund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4688B7F-5315-4669-B61A-87322094AD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44F12-EB88-474F-BA5E-385A9C5524F3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71B6931C-34D6-DD21-0B2B-FCC02CAC606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07" t="25987" r="18344" b="13612"/>
          <a:stretch/>
        </p:blipFill>
        <p:spPr>
          <a:xfrm>
            <a:off x="5005859" y="1673776"/>
            <a:ext cx="4209579" cy="2780308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D84B2F76-4EFD-5354-29F9-2F5B8492A11A}"/>
              </a:ext>
            </a:extLst>
          </p:cNvPr>
          <p:cNvSpPr txBox="1"/>
          <p:nvPr/>
        </p:nvSpPr>
        <p:spPr>
          <a:xfrm>
            <a:off x="6335646" y="3941871"/>
            <a:ext cx="2177849" cy="14411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</a:pPr>
            <a:r>
              <a:rPr lang="de-DE" sz="1200" b="1" dirty="0">
                <a:solidFill>
                  <a:schemeClr val="bg2"/>
                </a:solidFill>
                <a:sym typeface="Wingdings" panose="05000000000000000000" pitchFamily="2" charset="2"/>
              </a:rPr>
              <a:t> </a:t>
            </a:r>
            <a:r>
              <a:rPr lang="de-DE" sz="1200" b="1" dirty="0">
                <a:solidFill>
                  <a:schemeClr val="bg2"/>
                </a:solidFill>
              </a:rPr>
              <a:t>www.wasserportal.info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DF88E28-6820-345E-C551-B416C58A162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252" t="11024" r="25907"/>
          <a:stretch/>
        </p:blipFill>
        <p:spPr>
          <a:xfrm>
            <a:off x="5367481" y="2457826"/>
            <a:ext cx="968165" cy="209484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463489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ür Wasserversorger: in drei Schritten zur Nutzung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idx="1"/>
          </p:nvPr>
        </p:nvSpPr>
        <p:spPr>
          <a:xfrm>
            <a:off x="431802" y="1800000"/>
            <a:ext cx="2591165" cy="1008112"/>
          </a:xfrm>
          <a:solidFill>
            <a:srgbClr val="0068AF"/>
          </a:solidFill>
        </p:spPr>
        <p:txBody>
          <a:bodyPr lIns="90000" tIns="90000" bIns="90000"/>
          <a:lstStyle/>
          <a:p>
            <a:pPr marL="0" indent="0">
              <a:buClr>
                <a:schemeClr val="bg1"/>
              </a:buClr>
              <a:buNone/>
            </a:pPr>
            <a:r>
              <a:rPr lang="de-DE" b="1" dirty="0">
                <a:solidFill>
                  <a:schemeClr val="bg1"/>
                </a:solidFill>
              </a:rPr>
              <a:t>Registrieren</a:t>
            </a:r>
            <a:br>
              <a:rPr lang="de-DE" b="1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Mail an den BDEW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A0306-44DC-42C1-BE28-C8AFFAEB079E}" type="datetime1">
              <a:rPr lang="de-DE" smtClean="0"/>
              <a:t>24.11.2022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F047C2-1175-4143-8F36-21988CCA1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wasserportal.info: Infoservice für Wasserversorger und ihre Kund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94D56DE-51C3-4BCC-8440-5E9302122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44F12-EB88-474F-BA5E-385A9C5524F3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3" name="Textplatzhalter 24">
            <a:extLst>
              <a:ext uri="{FF2B5EF4-FFF2-40B4-BE49-F238E27FC236}">
                <a16:creationId xmlns:a16="http://schemas.microsoft.com/office/drawing/2014/main" id="{2E9C3791-03E3-B89F-A476-0A7746F9A877}"/>
              </a:ext>
            </a:extLst>
          </p:cNvPr>
          <p:cNvSpPr txBox="1">
            <a:spLocks/>
          </p:cNvSpPr>
          <p:nvPr/>
        </p:nvSpPr>
        <p:spPr>
          <a:xfrm>
            <a:off x="6046209" y="1800000"/>
            <a:ext cx="2737427" cy="1008112"/>
          </a:xfrm>
          <a:prstGeom prst="rect">
            <a:avLst/>
          </a:prstGeom>
          <a:solidFill>
            <a:srgbClr val="0068AF"/>
          </a:solidFill>
        </p:spPr>
        <p:txBody>
          <a:bodyPr vert="horz" lIns="90000" tIns="90000" rIns="90000" bIns="90000" rtlCol="0">
            <a:no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Clr>
                <a:schemeClr val="bg1"/>
              </a:buClr>
              <a:buNone/>
            </a:pPr>
            <a:r>
              <a:rPr lang="de-DE" b="1" dirty="0">
                <a:solidFill>
                  <a:schemeClr val="bg1"/>
                </a:solidFill>
              </a:rPr>
              <a:t>Kommunizieren</a:t>
            </a:r>
            <a:br>
              <a:rPr lang="de-DE" b="1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Bei Kunden bekanntmachen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9" name="Textplatzhalter 24">
            <a:extLst>
              <a:ext uri="{FF2B5EF4-FFF2-40B4-BE49-F238E27FC236}">
                <a16:creationId xmlns:a16="http://schemas.microsoft.com/office/drawing/2014/main" id="{AC82153B-593B-482D-C979-BC83C4CE5417}"/>
              </a:ext>
            </a:extLst>
          </p:cNvPr>
          <p:cNvSpPr txBox="1">
            <a:spLocks/>
          </p:cNvSpPr>
          <p:nvPr/>
        </p:nvSpPr>
        <p:spPr>
          <a:xfrm>
            <a:off x="3239006" y="1800000"/>
            <a:ext cx="2591165" cy="1008112"/>
          </a:xfrm>
          <a:prstGeom prst="rect">
            <a:avLst/>
          </a:prstGeom>
          <a:solidFill>
            <a:srgbClr val="0068AF"/>
          </a:solidFill>
        </p:spPr>
        <p:txBody>
          <a:bodyPr vert="horz" lIns="90000" tIns="90000" rIns="0" bIns="0" rtlCol="0">
            <a:noAutofit/>
          </a:bodyPr>
          <a:lstStyle>
            <a:lvl1pPr marL="36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Calibri" panose="020F050202020403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00" indent="-360000" algn="l" defTabSz="691157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250"/>
              </a:spcAft>
              <a:buClr>
                <a:schemeClr val="bg2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360000" algn="l" defTabSz="691157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150"/>
              </a:spcAft>
              <a:buClr>
                <a:schemeClr val="tx1"/>
              </a:buClr>
              <a:buFont typeface="Calibri" panose="020F0502020204030204" pitchFamily="34" charset="0"/>
              <a:buChar char="◦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360000" algn="l" defTabSz="691157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0"/>
              </a:spcAft>
              <a:buClr>
                <a:schemeClr val="tx1"/>
              </a:buClr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360000" algn="l" defTabSz="691157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Calibri" panose="020F0502020204030204" pitchFamily="34" charset="0"/>
              <a:buChar char="­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683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262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840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419" indent="-172790" algn="l" defTabSz="691157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Clr>
                <a:schemeClr val="bg1"/>
              </a:buClr>
              <a:buNone/>
            </a:pPr>
            <a:r>
              <a:rPr lang="de-DE" b="1" dirty="0">
                <a:solidFill>
                  <a:schemeClr val="bg1"/>
                </a:solidFill>
              </a:rPr>
              <a:t>Befüllen</a:t>
            </a:r>
            <a:br>
              <a:rPr lang="de-DE" b="1" dirty="0">
                <a:solidFill>
                  <a:schemeClr val="bg1"/>
                </a:solidFill>
              </a:rPr>
            </a:br>
            <a:r>
              <a:rPr lang="de-DE" spc="-50" dirty="0">
                <a:solidFill>
                  <a:schemeClr val="bg1"/>
                </a:solidFill>
              </a:rPr>
              <a:t>Informationen eingeben</a:t>
            </a:r>
            <a:r>
              <a:rPr lang="de-DE" dirty="0">
                <a:solidFill>
                  <a:schemeClr val="bg1"/>
                </a:solidFill>
              </a:rPr>
              <a:t> und hochladen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CBF4CA99-FCC3-4A28-0257-EDB13E700220}"/>
              </a:ext>
            </a:extLst>
          </p:cNvPr>
          <p:cNvSpPr/>
          <p:nvPr/>
        </p:nvSpPr>
        <p:spPr>
          <a:xfrm>
            <a:off x="1270184" y="3089028"/>
            <a:ext cx="914400" cy="914400"/>
          </a:xfrm>
          <a:prstGeom prst="ellipse">
            <a:avLst/>
          </a:prstGeom>
          <a:solidFill>
            <a:srgbClr val="EEF0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000"/>
              </a:spcAft>
            </a:pPr>
            <a:endParaRPr lang="de-DE" sz="1800" dirty="0" err="1">
              <a:solidFill>
                <a:schemeClr val="bg1"/>
              </a:solidFill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99E46B01-2292-BC3D-A3B2-56AFA9A7F073}"/>
              </a:ext>
            </a:extLst>
          </p:cNvPr>
          <p:cNvSpPr/>
          <p:nvPr/>
        </p:nvSpPr>
        <p:spPr>
          <a:xfrm>
            <a:off x="4059104" y="3089028"/>
            <a:ext cx="914400" cy="914400"/>
          </a:xfrm>
          <a:prstGeom prst="ellipse">
            <a:avLst/>
          </a:prstGeom>
          <a:solidFill>
            <a:srgbClr val="EEF0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000"/>
              </a:spcAft>
            </a:pPr>
            <a:endParaRPr lang="de-DE" sz="1800" dirty="0" err="1">
              <a:solidFill>
                <a:schemeClr val="bg1"/>
              </a:solidFill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5E10B53A-777C-A986-364C-6B15FFE39C21}"/>
              </a:ext>
            </a:extLst>
          </p:cNvPr>
          <p:cNvSpPr/>
          <p:nvPr/>
        </p:nvSpPr>
        <p:spPr>
          <a:xfrm>
            <a:off x="6947084" y="3089028"/>
            <a:ext cx="914400" cy="914400"/>
          </a:xfrm>
          <a:prstGeom prst="ellipse">
            <a:avLst/>
          </a:prstGeom>
          <a:solidFill>
            <a:srgbClr val="EEF0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000"/>
              </a:spcAft>
            </a:pPr>
            <a:endParaRPr lang="de-DE" sz="1800" dirty="0" err="1">
              <a:solidFill>
                <a:schemeClr val="bg1"/>
              </a:solidFill>
            </a:endParaRPr>
          </a:p>
        </p:txBody>
      </p:sp>
      <p:pic>
        <p:nvPicPr>
          <p:cNvPr id="21" name="Grafik 20" descr="E-Mail Silhouette">
            <a:extLst>
              <a:ext uri="{FF2B5EF4-FFF2-40B4-BE49-F238E27FC236}">
                <a16:creationId xmlns:a16="http://schemas.microsoft.com/office/drawing/2014/main" id="{B0C35C5B-3F89-EC39-4BEB-0AAC2BDCAC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45444" y="3226724"/>
            <a:ext cx="556260" cy="556260"/>
          </a:xfrm>
          <a:prstGeom prst="rect">
            <a:avLst/>
          </a:prstGeom>
        </p:spPr>
      </p:pic>
      <p:pic>
        <p:nvPicPr>
          <p:cNvPr id="23" name="Grafik 22" descr="Filter Silhouette">
            <a:extLst>
              <a:ext uri="{FF2B5EF4-FFF2-40B4-BE49-F238E27FC236}">
                <a16:creationId xmlns:a16="http://schemas.microsoft.com/office/drawing/2014/main" id="{BF38A449-5388-5228-FD85-95014454BF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173965" y="3257938"/>
            <a:ext cx="673224" cy="673224"/>
          </a:xfrm>
          <a:prstGeom prst="rect">
            <a:avLst/>
          </a:prstGeom>
        </p:spPr>
      </p:pic>
      <p:pic>
        <p:nvPicPr>
          <p:cNvPr id="27" name="Grafik 26" descr="Kommentar (wichtig) Silhouette">
            <a:extLst>
              <a:ext uri="{FF2B5EF4-FFF2-40B4-BE49-F238E27FC236}">
                <a16:creationId xmlns:a16="http://schemas.microsoft.com/office/drawing/2014/main" id="{B2261245-65BA-75BB-CF7B-1ADDD8D1A36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9436" y="3257104"/>
            <a:ext cx="617360" cy="6173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7503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B-SLIDENAME" val="Titel mit Bildbeispiel 12"/>
  <p:tag name="FB-CATEGORY" val="Titel und Trenner und Schlussseite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B-SLIDENAME" val="Titel, Aufzählung und 3 Bilder"/>
  <p:tag name="FB-CATEGORY" val="Seiten mit Bi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B-SLIDENAME" val="Bild (randabfallend) mit bewegl. Titelbox"/>
  <p:tag name="FB-CATEGORY" val="Seiten mit Bi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B-SLIDENAME" val="Bild (randabfallend) mit bewegl. Titelbox"/>
  <p:tag name="FB-CATEGORY" val="Seiten mit Bi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B-SLIDENAME" val="Bild (randabfallend) mit bewegl. Titelbox"/>
  <p:tag name="FB-CATEGORY" val="Seiten mit Bi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B-SLIDENAME" val="Schlussseite (2 AP)"/>
  <p:tag name="FB-CATEGORY" val="Titel und Trenner und Schlussseite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B-SLIDENAME" val="Titel, Aufzählung und 3 Bilder"/>
  <p:tag name="FB-CATEGORY" val="Seiten mit Bi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B-SLIDENAME" val="(MF) Deutschland-Karte"/>
  <p:tag name="FB-CATEGORY" val="Karte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B-SLIDENAME" val="Titel, Aufzählung und 3 Bilder"/>
  <p:tag name="FB-CATEGORY" val="Seiten mit Bild"/>
</p:tagLst>
</file>

<file path=ppt/theme/theme1.xml><?xml version="1.0" encoding="utf-8"?>
<a:theme xmlns:a="http://schemas.openxmlformats.org/drawingml/2006/main" name="PPT-Vorlage_BDEW-Wasser_14-12-2020">
  <a:themeElements>
    <a:clrScheme name="BDEW Wasser">
      <a:dk1>
        <a:srgbClr val="000000"/>
      </a:dk1>
      <a:lt1>
        <a:srgbClr val="FFFFFF"/>
      </a:lt1>
      <a:dk2>
        <a:srgbClr val="000000"/>
      </a:dk2>
      <a:lt2>
        <a:srgbClr val="0068AF"/>
      </a:lt2>
      <a:accent1>
        <a:srgbClr val="0068AF"/>
      </a:accent1>
      <a:accent2>
        <a:srgbClr val="C20000"/>
      </a:accent2>
      <a:accent3>
        <a:srgbClr val="576874"/>
      </a:accent3>
      <a:accent4>
        <a:srgbClr val="46AA28"/>
      </a:accent4>
      <a:accent5>
        <a:srgbClr val="99C200"/>
      </a:accent5>
      <a:accent6>
        <a:srgbClr val="FEC800"/>
      </a:accent6>
      <a:hlink>
        <a:srgbClr val="003457"/>
      </a:hlink>
      <a:folHlink>
        <a:srgbClr val="8E0721"/>
      </a:folHlink>
    </a:clrScheme>
    <a:fontScheme name="BDEW">
      <a:majorFont>
        <a:latin typeface="Calibri"/>
        <a:ea typeface=""/>
        <a:cs typeface="Calibri"/>
      </a:majorFont>
      <a:minorFont>
        <a:latin typeface="Calibri"/>
        <a:ea typeface="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spcAft>
            <a:spcPts val="1000"/>
          </a:spcAft>
          <a:defRPr sz="18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marL="360000" indent="-360000" algn="l">
          <a:spcBef>
            <a:spcPts val="500"/>
          </a:spcBef>
          <a:spcAft>
            <a:spcPts val="500"/>
          </a:spcAft>
          <a:buClr>
            <a:schemeClr val="bg2"/>
          </a:buClr>
          <a:buFont typeface="Calibri" panose="020F0502020204030204" pitchFamily="34" charset="0"/>
          <a:buChar char="•"/>
          <a:defRPr sz="1800" dirty="0" err="1" smtClean="0"/>
        </a:defPPr>
      </a:lstStyle>
    </a:txDef>
  </a:objectDefaults>
  <a:extraClrSchemeLst/>
  <a:custClrLst>
    <a:custClr name="BDEW-Rot/Energie">
      <a:srgbClr val="C20000"/>
    </a:custClr>
    <a:custClr name="BDEW-Blau/Wasser">
      <a:srgbClr val="0068AF"/>
    </a:custClr>
    <a:custClr name="BDEW-Grau">
      <a:srgbClr val="576874"/>
    </a:custClr>
    <a:custClr name="Gas">
      <a:srgbClr val="46AA28"/>
    </a:custClr>
    <a:custClr name="Strom">
      <a:srgbClr val="FF7F24"/>
    </a:custClr>
    <a:custClr name="Erneuerbare">
      <a:srgbClr val="99C200"/>
    </a:custClr>
    <a:custClr name="Wind">
      <a:srgbClr val="00AFD8"/>
    </a:custClr>
    <a:custClr name="Navy Blue">
      <a:srgbClr val="27408B"/>
    </a:custClr>
    <a:custClr name="Cadet Blue">
      <a:srgbClr val="5F9EA0"/>
    </a:custClr>
    <a:custClr name="Red">
      <a:srgbClr val="FF0000"/>
    </a:custClr>
    <a:custClr name="E 80 %">
      <a:srgbClr val="C84730"/>
    </a:custClr>
    <a:custClr name="W 80 %">
      <a:srgbClr val="1E7EBA"/>
    </a:custClr>
    <a:custClr name="G 80 %">
      <a:srgbClr val="748592"/>
    </a:custClr>
    <a:custClr name="Gas 80 %">
      <a:srgbClr val="62B748"/>
    </a:custClr>
    <a:custClr name="Fernwärme">
      <a:srgbClr val="7B0B6D"/>
    </a:custClr>
    <a:custClr name="Wasserstoff">
      <a:srgbClr val="20B2AA"/>
    </a:custClr>
    <a:custClr name="Mineralöl">
      <a:srgbClr val="477390"/>
    </a:custClr>
    <a:custClr name="Royal Blue">
      <a:srgbClr val="4069E1"/>
    </a:custClr>
    <a:custClr name="Ocean Green">
      <a:srgbClr val="00C5CD"/>
    </a:custClr>
    <a:custClr name="Orange Red">
      <a:srgbClr val="FF4500"/>
    </a:custClr>
    <a:custClr name="E 60 %">
      <a:srgbClr val="D5775B"/>
    </a:custClr>
    <a:custClr name="W 60 %">
      <a:srgbClr val="6C99C9"/>
    </a:custClr>
    <a:custClr name="G 60 %">
      <a:srgbClr val="94A2AE"/>
    </a:custClr>
    <a:custClr name="Gas 60 %">
      <a:srgbClr val="90CC7E"/>
    </a:custClr>
    <a:custClr name="Abwasser">
      <a:srgbClr val="6C99C9"/>
    </a:custClr>
    <a:custClr name="Holz">
      <a:srgbClr val="CD853F"/>
    </a:custClr>
    <a:custClr name="Kernenergie">
      <a:srgbClr val="4B4D72"/>
    </a:custClr>
    <a:custClr name="Dodger Blue">
      <a:srgbClr val="1E90FF"/>
    </a:custClr>
    <a:custClr name="Medium Aquamarine">
      <a:srgbClr val="66CDAA"/>
    </a:custClr>
    <a:custClr name="Blue Violet">
      <a:srgbClr val="8A2BE2"/>
    </a:custClr>
    <a:custClr name="E 40 %">
      <a:srgbClr val="E2A58C"/>
    </a:custClr>
    <a:custClr name="W 40 %">
      <a:srgbClr val="A0B8DB"/>
    </a:custClr>
    <a:custClr name="G 40 %">
      <a:srgbClr val="B5C0C9"/>
    </a:custClr>
    <a:custClr name="Gas 40 %">
      <a:srgbClr val="B5DDA9"/>
    </a:custClr>
    <a:custClr name="PV">
      <a:srgbClr val="FEC800"/>
    </a:custClr>
    <a:custClr name="Braunkohle">
      <a:srgbClr val="8C3725"/>
    </a:custClr>
    <a:custClr name="Steinkohle">
      <a:srgbClr val="333333"/>
    </a:custClr>
    <a:custClr name="Sky Blue">
      <a:srgbClr val="6CA6CD"/>
    </a:custClr>
    <a:custClr name="Green">
      <a:srgbClr val="96DC32"/>
    </a:custClr>
    <a:custClr name="Fuchsia">
      <a:srgbClr val="FF00FF"/>
    </a:custClr>
    <a:custClr name="E 20 %">
      <a:srgbClr val="F1D1C1"/>
    </a:custClr>
    <a:custClr name="W 20 %">
      <a:srgbClr val="D0DAED"/>
    </a:custClr>
    <a:custClr name="G 20 %">
      <a:srgbClr val="D8DFE4"/>
    </a:custClr>
    <a:custClr name="Gas 20 %">
      <a:srgbClr val="DAEED4"/>
    </a:custClr>
    <a:custClr name="Biomasse">
      <a:srgbClr val="C4DA80"/>
    </a:custClr>
    <a:custClr name="Wind Offshore">
      <a:srgbClr val="84CFE7"/>
    </a:custClr>
    <a:custClr name="Stone Grey">
      <a:srgbClr val="9C9C9C"/>
    </a:custClr>
    <a:custClr name="Blue Green">
      <a:srgbClr val="B4CDCD"/>
    </a:custClr>
    <a:custClr name="Chartreuse">
      <a:srgbClr val="7FFF00"/>
    </a:custClr>
    <a:custClr name="Turquois">
      <a:srgbClr val="00F5FF"/>
    </a:custClr>
  </a:custClrLst>
  <a:extLst>
    <a:ext uri="{05A4C25C-085E-4340-85A3-A5531E510DB2}">
      <thm15:themeFamily xmlns:thm15="http://schemas.microsoft.com/office/thememl/2012/main" name="PPT-Vorlage_BDEW_Wasser_14-12-2020.potx" id="{F2099004-5E61-4A97-B4C8-439F6B3E9B61}" vid="{E077DCDA-3700-41E4-8466-943DA00EF78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DEW">
      <a:dk1>
        <a:srgbClr val="000000"/>
      </a:dk1>
      <a:lt1>
        <a:srgbClr val="FFFFFF"/>
      </a:lt1>
      <a:dk2>
        <a:srgbClr val="000000"/>
      </a:dk2>
      <a:lt2>
        <a:srgbClr val="C20000"/>
      </a:lt2>
      <a:accent1>
        <a:srgbClr val="C20000"/>
      </a:accent1>
      <a:accent2>
        <a:srgbClr val="0068AF"/>
      </a:accent2>
      <a:accent3>
        <a:srgbClr val="576874"/>
      </a:accent3>
      <a:accent4>
        <a:srgbClr val="46AA28"/>
      </a:accent4>
      <a:accent5>
        <a:srgbClr val="99C200"/>
      </a:accent5>
      <a:accent6>
        <a:srgbClr val="FEC800"/>
      </a:accent6>
      <a:hlink>
        <a:srgbClr val="003457"/>
      </a:hlink>
      <a:folHlink>
        <a:srgbClr val="8E0721"/>
      </a:folHlink>
    </a:clrScheme>
    <a:fontScheme name="BDEW">
      <a:majorFont>
        <a:latin typeface="Calibri"/>
        <a:ea typeface=""/>
        <a:cs typeface="Calibri"/>
      </a:majorFont>
      <a:minorFont>
        <a:latin typeface="Calibri"/>
        <a:ea typeface=""/>
        <a:cs typeface="Calibr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Vorlage_BDEW_Wasser_14-12-2020</Template>
  <TotalTime>0</TotalTime>
  <Words>1251</Words>
  <Application>Microsoft Office PowerPoint</Application>
  <PresentationFormat>Benutzerdefiniert</PresentationFormat>
  <Paragraphs>196</Paragraphs>
  <Slides>14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0" baseType="lpstr">
      <vt:lpstr>Arial</vt:lpstr>
      <vt:lpstr>Arial Narrow</vt:lpstr>
      <vt:lpstr>Calibri</vt:lpstr>
      <vt:lpstr>Trebuchet MS</vt:lpstr>
      <vt:lpstr>PPT-Vorlage_BDEW-Wasser_14-12-2020</vt:lpstr>
      <vt:lpstr>think-cell Folie</vt:lpstr>
      <vt:lpstr>Digitales Informationsportal unterstützt Wasserversorger  bei der Erfüllung ihrer Informationspflichten gemäß TrinkwV</vt:lpstr>
      <vt:lpstr>Ab 2023: Neue Informationspflichten für Wasserversorgungs- unternehmen gemäß Trinkwasserverordnung</vt:lpstr>
      <vt:lpstr>Leistungsfähigkeit der Wasserversorgung</vt:lpstr>
      <vt:lpstr>Angabe der spezifischen Wasserverluste</vt:lpstr>
      <vt:lpstr>Bundesdurchschnitt als verlässliche Grundlage  für Wassergebrauch pro Person</vt:lpstr>
      <vt:lpstr>Preise und Gebühren für Trinkwasser</vt:lpstr>
      <vt:lpstr>Wasserhärte und Mineralienkonzentration</vt:lpstr>
      <vt:lpstr>Vorteile des Portals für Wasserversorgungsunternehmen</vt:lpstr>
      <vt:lpstr>Für Wasserversorger: in drei Schritten zur Nutzung</vt:lpstr>
      <vt:lpstr>Für Wasserversorger: in drei Schritten zur Nutzung</vt:lpstr>
      <vt:lpstr>PowerPoint-Präsentation</vt:lpstr>
      <vt:lpstr>PowerPoint-Präsentation</vt:lpstr>
      <vt:lpstr>PowerPoint-Präsentation</vt:lpstr>
      <vt:lpstr>PowerPoint-Präsentation</vt:lpstr>
    </vt:vector>
  </TitlesOfParts>
  <Company>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 2023: neue Informationspflichten für Wasserversorgungs- unternehmen in der Trinkwasserverordnung</dc:title>
  <dc:creator>Sattler, Kerstin</dc:creator>
  <cp:lastModifiedBy>Rehberg, Jörg</cp:lastModifiedBy>
  <cp:revision>25</cp:revision>
  <cp:lastPrinted>2022-10-26T16:25:24Z</cp:lastPrinted>
  <dcterms:created xsi:type="dcterms:W3CDTF">2022-10-19T10:29:52Z</dcterms:created>
  <dcterms:modified xsi:type="dcterms:W3CDTF">2022-11-24T13:3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474073790</vt:i4>
  </property>
  <property fmtid="{D5CDD505-2E9C-101B-9397-08002B2CF9AE}" pid="3" name="_NewReviewCycle">
    <vt:lpwstr/>
  </property>
  <property fmtid="{D5CDD505-2E9C-101B-9397-08002B2CF9AE}" pid="4" name="_EmailSubject">
    <vt:lpwstr>83_LK_WaWi_2022-11_18_TO_ENTWURF.pdf</vt:lpwstr>
  </property>
  <property fmtid="{D5CDD505-2E9C-101B-9397-08002B2CF9AE}" pid="5" name="_AuthorEmail">
    <vt:lpwstr>Joerg.Rehberg@bdew.de</vt:lpwstr>
  </property>
  <property fmtid="{D5CDD505-2E9C-101B-9397-08002B2CF9AE}" pid="6" name="_AuthorEmailDisplayName">
    <vt:lpwstr>Rehberg, Jörg</vt:lpwstr>
  </property>
</Properties>
</file>